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256" r:id="rId5"/>
    <p:sldId id="1752" r:id="rId6"/>
    <p:sldId id="258" r:id="rId7"/>
    <p:sldId id="285" r:id="rId8"/>
    <p:sldId id="1753" r:id="rId9"/>
    <p:sldId id="280" r:id="rId10"/>
    <p:sldId id="1755" r:id="rId11"/>
    <p:sldId id="1756" r:id="rId12"/>
    <p:sldId id="262" r:id="rId13"/>
    <p:sldId id="287" r:id="rId14"/>
    <p:sldId id="268" r:id="rId15"/>
    <p:sldId id="1754" r:id="rId16"/>
    <p:sldId id="291" r:id="rId17"/>
    <p:sldId id="269" r:id="rId18"/>
    <p:sldId id="263" r:id="rId19"/>
    <p:sldId id="270" r:id="rId20"/>
    <p:sldId id="267" r:id="rId21"/>
    <p:sldId id="278" r:id="rId22"/>
    <p:sldId id="282" r:id="rId23"/>
    <p:sldId id="271" r:id="rId24"/>
    <p:sldId id="264" r:id="rId25"/>
    <p:sldId id="281" r:id="rId26"/>
    <p:sldId id="273" r:id="rId27"/>
    <p:sldId id="295" r:id="rId28"/>
    <p:sldId id="283" r:id="rId29"/>
    <p:sldId id="284" r:id="rId30"/>
    <p:sldId id="265" r:id="rId31"/>
    <p:sldId id="277" r:id="rId32"/>
    <p:sldId id="279" r:id="rId33"/>
    <p:sldId id="1757" r:id="rId34"/>
    <p:sldId id="286" r:id="rId35"/>
    <p:sldId id="261" r:id="rId36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66" d="100"/>
          <a:sy n="66" d="100"/>
        </p:scale>
        <p:origin x="668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</a:t>
            </a:r>
            <a:endParaRPr lang="en-US" altLang="zh-CN" sz="1800" b="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281DBD-6491-418A-95D2-0B38A7FC1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AB4E498-913C-48F0-AB06-9922ED80D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8764362-7FEC-4F0C-862E-853ED5E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78903B1-2C38-4FE8-A09F-F7CA6A3B58A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78585"/>
            <a:ext cx="10845800" cy="4603245"/>
            <a:chOff x="673100" y="1378585"/>
            <a:chExt cx="10845800" cy="4603245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3D0CE7F8-8651-4560-B4DF-3274E607B915}"/>
                </a:ext>
              </a:extLst>
            </p:cNvPr>
            <p:cNvSpPr/>
            <p:nvPr/>
          </p:nvSpPr>
          <p:spPr>
            <a:xfrm>
              <a:off x="673100" y="4490068"/>
              <a:ext cx="10845800" cy="5249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B6B7944-DCBE-4973-88D4-CF21E586BC4D}"/>
                </a:ext>
              </a:extLst>
            </p:cNvPr>
            <p:cNvCxnSpPr/>
            <p:nvPr/>
          </p:nvCxnSpPr>
          <p:spPr>
            <a:xfrm>
              <a:off x="1479956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73100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FAA3D387-AA6D-4A66-BD59-4F1E4188DB7D}"/>
                </a:ext>
              </a:extLst>
            </p:cNvPr>
            <p:cNvSpPr/>
            <p:nvPr/>
          </p:nvSpPr>
          <p:spPr>
            <a:xfrm>
              <a:off x="881935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EE43B2D-CABB-4992-A683-062571205202}"/>
                </a:ext>
              </a:extLst>
            </p:cNvPr>
            <p:cNvSpPr/>
            <p:nvPr/>
          </p:nvSpPr>
          <p:spPr>
            <a:xfrm>
              <a:off x="881935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5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2738561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2EC96796-4967-492B-9191-9EBCECD50B99}"/>
                </a:ext>
              </a:extLst>
            </p:cNvPr>
            <p:cNvSpPr/>
            <p:nvPr/>
          </p:nvSpPr>
          <p:spPr>
            <a:xfrm>
              <a:off x="2947396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6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64254344-519C-408F-A73F-F3AB8FA202E1}"/>
                </a:ext>
              </a:extLst>
            </p:cNvPr>
            <p:cNvCxnSpPr/>
            <p:nvPr/>
          </p:nvCxnSpPr>
          <p:spPr>
            <a:xfrm>
              <a:off x="5610878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4804022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B5B767C0-5AEA-4754-B665-7D04FF2D762B}"/>
                </a:ext>
              </a:extLst>
            </p:cNvPr>
            <p:cNvSpPr/>
            <p:nvPr/>
          </p:nvSpPr>
          <p:spPr>
            <a:xfrm>
              <a:off x="5012857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8FEDEAD4-DD17-4445-95E1-BDB779192D92}"/>
                </a:ext>
              </a:extLst>
            </p:cNvPr>
            <p:cNvSpPr/>
            <p:nvPr/>
          </p:nvSpPr>
          <p:spPr>
            <a:xfrm>
              <a:off x="5012857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7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222CFD55-1CAA-4913-A98D-25BA511B902A}"/>
                </a:ext>
              </a:extLst>
            </p:cNvPr>
            <p:cNvCxnSpPr/>
            <p:nvPr/>
          </p:nvCxnSpPr>
          <p:spPr>
            <a:xfrm>
              <a:off x="3545417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255A248A-C133-466F-BE9B-647EF5ACF1B1}"/>
                </a:ext>
              </a:extLst>
            </p:cNvPr>
            <p:cNvCxnSpPr/>
            <p:nvPr/>
          </p:nvCxnSpPr>
          <p:spPr>
            <a:xfrm>
              <a:off x="7676339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869483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5620B7FD-9EF7-4486-BAB0-11FA662DE2E6}"/>
                </a:ext>
              </a:extLst>
            </p:cNvPr>
            <p:cNvSpPr/>
            <p:nvPr/>
          </p:nvSpPr>
          <p:spPr>
            <a:xfrm>
              <a:off x="2947396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7BB2784A-1A36-4845-8675-25E6C0F19C9D}"/>
                </a:ext>
              </a:extLst>
            </p:cNvPr>
            <p:cNvSpPr/>
            <p:nvPr/>
          </p:nvSpPr>
          <p:spPr>
            <a:xfrm>
              <a:off x="7078318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FD7EE974-19D8-4BC5-9BE4-19ECF2BB1870}"/>
                </a:ext>
              </a:extLst>
            </p:cNvPr>
            <p:cNvSpPr/>
            <p:nvPr/>
          </p:nvSpPr>
          <p:spPr>
            <a:xfrm>
              <a:off x="7078318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8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952B7ED5-7230-4354-A849-618137A892BD}"/>
                </a:ext>
              </a:extLst>
            </p:cNvPr>
            <p:cNvCxnSpPr/>
            <p:nvPr/>
          </p:nvCxnSpPr>
          <p:spPr>
            <a:xfrm>
              <a:off x="9741802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8934946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id="{63331D12-EAA5-41F6-B1BB-FCB074DF696B}"/>
                </a:ext>
              </a:extLst>
            </p:cNvPr>
            <p:cNvSpPr/>
            <p:nvPr/>
          </p:nvSpPr>
          <p:spPr>
            <a:xfrm>
              <a:off x="9143781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A1068212-AEFC-4A8A-B5BA-DC75E9D097DD}"/>
                </a:ext>
              </a:extLst>
            </p:cNvPr>
            <p:cNvSpPr/>
            <p:nvPr/>
          </p:nvSpPr>
          <p:spPr>
            <a:xfrm>
              <a:off x="9143781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9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3D19733-C528-48DD-914A-7A85AC801A0E}"/>
                </a:ext>
              </a:extLst>
            </p:cNvPr>
            <p:cNvSpPr/>
            <p:nvPr/>
          </p:nvSpPr>
          <p:spPr>
            <a:xfrm>
              <a:off x="1276662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BAB2213-16C3-401B-A097-FB9CC308E11E}"/>
                </a:ext>
              </a:extLst>
            </p:cNvPr>
            <p:cNvSpPr/>
            <p:nvPr/>
          </p:nvSpPr>
          <p:spPr>
            <a:xfrm>
              <a:off x="3342124" y="1378585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434F773-ED1C-4E4B-85E7-2A4B6B498269}"/>
                </a:ext>
              </a:extLst>
            </p:cNvPr>
            <p:cNvSpPr/>
            <p:nvPr/>
          </p:nvSpPr>
          <p:spPr>
            <a:xfrm>
              <a:off x="5407584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2D67E0B-CC9E-41B0-98FC-5468164AE8DF}"/>
                </a:ext>
              </a:extLst>
            </p:cNvPr>
            <p:cNvSpPr/>
            <p:nvPr/>
          </p:nvSpPr>
          <p:spPr>
            <a:xfrm>
              <a:off x="7473045" y="1378585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DDF6443-4B4E-4C64-93B4-C60662452200}"/>
                </a:ext>
              </a:extLst>
            </p:cNvPr>
            <p:cNvSpPr/>
            <p:nvPr/>
          </p:nvSpPr>
          <p:spPr>
            <a:xfrm>
              <a:off x="9538508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4963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86FBD3-EB40-4ED0-92C7-368944133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687663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687663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38288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38288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F3DCDB-6372-4983-98F0-C8085CB94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C6D8C8C-807C-4477-8312-04B5950DF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793C249-5440-46F5-80D3-C7B4F102C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5AED2C0-1433-44A9-9660-F30486D9ED25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217303"/>
            <a:ext cx="12192000" cy="4926322"/>
            <a:chOff x="0" y="1217303"/>
            <a:chExt cx="12192000" cy="492632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F20322E-FA52-45E4-9ECA-A008DD2A14A0}"/>
                </a:ext>
              </a:extLst>
            </p:cNvPr>
            <p:cNvSpPr/>
            <p:nvPr/>
          </p:nvSpPr>
          <p:spPr bwMode="auto">
            <a:xfrm>
              <a:off x="0" y="2372111"/>
              <a:ext cx="12192000" cy="3529060"/>
            </a:xfrm>
            <a:custGeom>
              <a:avLst/>
              <a:gdLst>
                <a:gd name="T0" fmla="*/ 6336 w 6336"/>
                <a:gd name="T1" fmla="*/ 0 h 1834"/>
                <a:gd name="T2" fmla="*/ 3168 w 6336"/>
                <a:gd name="T3" fmla="*/ 1763 h 1834"/>
                <a:gd name="T4" fmla="*/ 0 w 6336"/>
                <a:gd name="T5" fmla="*/ 0 h 1834"/>
                <a:gd name="T6" fmla="*/ 0 w 6336"/>
                <a:gd name="T7" fmla="*/ 70 h 1834"/>
                <a:gd name="T8" fmla="*/ 3168 w 6336"/>
                <a:gd name="T9" fmla="*/ 1834 h 1834"/>
                <a:gd name="T10" fmla="*/ 6336 w 6336"/>
                <a:gd name="T11" fmla="*/ 70 h 1834"/>
                <a:gd name="T12" fmla="*/ 6336 w 6336"/>
                <a:gd name="T13" fmla="*/ 0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4">
                  <a:moveTo>
                    <a:pt x="6336" y="0"/>
                  </a:moveTo>
                  <a:lnTo>
                    <a:pt x="3168" y="1763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4"/>
                  </a:lnTo>
                  <a:lnTo>
                    <a:pt x="6336" y="70"/>
                  </a:lnTo>
                  <a:lnTo>
                    <a:pt x="633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D9C7D00-BFF1-4B87-AE84-8F44A16E7DBB}"/>
                </a:ext>
              </a:extLst>
            </p:cNvPr>
            <p:cNvSpPr/>
            <p:nvPr/>
          </p:nvSpPr>
          <p:spPr bwMode="auto">
            <a:xfrm>
              <a:off x="0" y="1908368"/>
              <a:ext cx="12192000" cy="3530984"/>
            </a:xfrm>
            <a:custGeom>
              <a:avLst/>
              <a:gdLst>
                <a:gd name="T0" fmla="*/ 6336 w 6336"/>
                <a:gd name="T1" fmla="*/ 0 h 1835"/>
                <a:gd name="T2" fmla="*/ 3168 w 6336"/>
                <a:gd name="T3" fmla="*/ 1764 h 1835"/>
                <a:gd name="T4" fmla="*/ 0 w 6336"/>
                <a:gd name="T5" fmla="*/ 0 h 1835"/>
                <a:gd name="T6" fmla="*/ 0 w 6336"/>
                <a:gd name="T7" fmla="*/ 71 h 1835"/>
                <a:gd name="T8" fmla="*/ 3168 w 6336"/>
                <a:gd name="T9" fmla="*/ 1835 h 1835"/>
                <a:gd name="T10" fmla="*/ 6336 w 6336"/>
                <a:gd name="T11" fmla="*/ 71 h 1835"/>
                <a:gd name="T12" fmla="*/ 6336 w 6336"/>
                <a:gd name="T13" fmla="*/ 0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5">
                  <a:moveTo>
                    <a:pt x="6336" y="0"/>
                  </a:moveTo>
                  <a:lnTo>
                    <a:pt x="3168" y="1764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168" y="1835"/>
                  </a:lnTo>
                  <a:lnTo>
                    <a:pt x="6336" y="71"/>
                  </a:lnTo>
                  <a:lnTo>
                    <a:pt x="633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3944544-C37B-46C0-A6A4-C330C11C5377}"/>
                </a:ext>
              </a:extLst>
            </p:cNvPr>
            <p:cNvSpPr/>
            <p:nvPr/>
          </p:nvSpPr>
          <p:spPr bwMode="auto">
            <a:xfrm>
              <a:off x="0" y="2372111"/>
              <a:ext cx="12192000" cy="3529059"/>
            </a:xfrm>
            <a:custGeom>
              <a:avLst/>
              <a:gdLst>
                <a:gd name="T0" fmla="*/ 6336 w 6336"/>
                <a:gd name="T1" fmla="*/ 0 h 1834"/>
                <a:gd name="T2" fmla="*/ 3168 w 6336"/>
                <a:gd name="T3" fmla="*/ 1763 h 1834"/>
                <a:gd name="T4" fmla="*/ 0 w 6336"/>
                <a:gd name="T5" fmla="*/ 0 h 1834"/>
                <a:gd name="T6" fmla="*/ 0 w 6336"/>
                <a:gd name="T7" fmla="*/ 70 h 1834"/>
                <a:gd name="T8" fmla="*/ 3168 w 6336"/>
                <a:gd name="T9" fmla="*/ 1834 h 1834"/>
                <a:gd name="T10" fmla="*/ 6336 w 6336"/>
                <a:gd name="T11" fmla="*/ 70 h 1834"/>
                <a:gd name="T12" fmla="*/ 6336 w 6336"/>
                <a:gd name="T13" fmla="*/ 0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4">
                  <a:moveTo>
                    <a:pt x="6336" y="0"/>
                  </a:moveTo>
                  <a:lnTo>
                    <a:pt x="3168" y="1763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4"/>
                  </a:lnTo>
                  <a:lnTo>
                    <a:pt x="6336" y="70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9EE4745-0423-4476-94E1-FBD5991BF636}"/>
                </a:ext>
              </a:extLst>
            </p:cNvPr>
            <p:cNvSpPr/>
            <p:nvPr/>
          </p:nvSpPr>
          <p:spPr bwMode="auto">
            <a:xfrm>
              <a:off x="0" y="1908368"/>
              <a:ext cx="12192000" cy="3530984"/>
            </a:xfrm>
            <a:custGeom>
              <a:avLst/>
              <a:gdLst>
                <a:gd name="T0" fmla="*/ 6336 w 6336"/>
                <a:gd name="T1" fmla="*/ 0 h 1835"/>
                <a:gd name="T2" fmla="*/ 3168 w 6336"/>
                <a:gd name="T3" fmla="*/ 1764 h 1835"/>
                <a:gd name="T4" fmla="*/ 0 w 6336"/>
                <a:gd name="T5" fmla="*/ 0 h 1835"/>
                <a:gd name="T6" fmla="*/ 0 w 6336"/>
                <a:gd name="T7" fmla="*/ 71 h 1835"/>
                <a:gd name="T8" fmla="*/ 3168 w 6336"/>
                <a:gd name="T9" fmla="*/ 1835 h 1835"/>
                <a:gd name="T10" fmla="*/ 6336 w 6336"/>
                <a:gd name="T11" fmla="*/ 71 h 1835"/>
                <a:gd name="T12" fmla="*/ 6336 w 6336"/>
                <a:gd name="T13" fmla="*/ 0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5">
                  <a:moveTo>
                    <a:pt x="6336" y="0"/>
                  </a:moveTo>
                  <a:lnTo>
                    <a:pt x="3168" y="1764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168" y="1835"/>
                  </a:lnTo>
                  <a:lnTo>
                    <a:pt x="6336" y="71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BB796B0-447F-4934-961A-F5FC5F561622}"/>
                </a:ext>
              </a:extLst>
            </p:cNvPr>
            <p:cNvSpPr/>
            <p:nvPr/>
          </p:nvSpPr>
          <p:spPr bwMode="auto">
            <a:xfrm>
              <a:off x="0" y="2143126"/>
              <a:ext cx="12192000" cy="3525211"/>
            </a:xfrm>
            <a:custGeom>
              <a:avLst/>
              <a:gdLst>
                <a:gd name="T0" fmla="*/ 6336 w 6336"/>
                <a:gd name="T1" fmla="*/ 0 h 1832"/>
                <a:gd name="T2" fmla="*/ 3168 w 6336"/>
                <a:gd name="T3" fmla="*/ 1761 h 1832"/>
                <a:gd name="T4" fmla="*/ 0 w 6336"/>
                <a:gd name="T5" fmla="*/ 0 h 1832"/>
                <a:gd name="T6" fmla="*/ 0 w 6336"/>
                <a:gd name="T7" fmla="*/ 70 h 1832"/>
                <a:gd name="T8" fmla="*/ 3168 w 6336"/>
                <a:gd name="T9" fmla="*/ 1832 h 1832"/>
                <a:gd name="T10" fmla="*/ 6336 w 6336"/>
                <a:gd name="T11" fmla="*/ 70 h 1832"/>
                <a:gd name="T12" fmla="*/ 6336 w 6336"/>
                <a:gd name="T1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2">
                  <a:moveTo>
                    <a:pt x="6336" y="0"/>
                  </a:moveTo>
                  <a:lnTo>
                    <a:pt x="3168" y="1761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2"/>
                  </a:lnTo>
                  <a:lnTo>
                    <a:pt x="6336" y="70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317CC08-8D23-4A23-A201-9A4E86344F86}"/>
                </a:ext>
              </a:extLst>
            </p:cNvPr>
            <p:cNvSpPr/>
            <p:nvPr/>
          </p:nvSpPr>
          <p:spPr bwMode="auto">
            <a:xfrm>
              <a:off x="0" y="2143126"/>
              <a:ext cx="12192000" cy="3525212"/>
            </a:xfrm>
            <a:custGeom>
              <a:avLst/>
              <a:gdLst>
                <a:gd name="T0" fmla="*/ 6336 w 6336"/>
                <a:gd name="T1" fmla="*/ 0 h 1832"/>
                <a:gd name="T2" fmla="*/ 3168 w 6336"/>
                <a:gd name="T3" fmla="*/ 1761 h 1832"/>
                <a:gd name="T4" fmla="*/ 0 w 6336"/>
                <a:gd name="T5" fmla="*/ 0 h 1832"/>
                <a:gd name="T6" fmla="*/ 0 w 6336"/>
                <a:gd name="T7" fmla="*/ 70 h 1832"/>
                <a:gd name="T8" fmla="*/ 3168 w 6336"/>
                <a:gd name="T9" fmla="*/ 1832 h 1832"/>
                <a:gd name="T10" fmla="*/ 6336 w 6336"/>
                <a:gd name="T11" fmla="*/ 70 h 1832"/>
                <a:gd name="T12" fmla="*/ 6336 w 6336"/>
                <a:gd name="T1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2">
                  <a:moveTo>
                    <a:pt x="6336" y="0"/>
                  </a:moveTo>
                  <a:lnTo>
                    <a:pt x="3168" y="1761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2"/>
                  </a:lnTo>
                  <a:lnTo>
                    <a:pt x="6336" y="70"/>
                  </a:lnTo>
                  <a:lnTo>
                    <a:pt x="6336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F8853C8-8132-4FBD-A051-6882706CDDE2}"/>
                </a:ext>
              </a:extLst>
            </p:cNvPr>
            <p:cNvSpPr/>
            <p:nvPr/>
          </p:nvSpPr>
          <p:spPr bwMode="auto">
            <a:xfrm>
              <a:off x="779318" y="2495262"/>
              <a:ext cx="2053167" cy="1141075"/>
            </a:xfrm>
            <a:custGeom>
              <a:avLst/>
              <a:gdLst>
                <a:gd name="T0" fmla="*/ 468 w 485"/>
                <a:gd name="T1" fmla="*/ 118 h 269"/>
                <a:gd name="T2" fmla="*/ 468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8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8" y="118"/>
                  </a:moveTo>
                  <a:cubicBezTo>
                    <a:pt x="485" y="127"/>
                    <a:pt x="485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0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0C2B629-B83C-4BA9-A5AA-8EEEC0002572}"/>
                </a:ext>
              </a:extLst>
            </p:cNvPr>
            <p:cNvSpPr/>
            <p:nvPr/>
          </p:nvSpPr>
          <p:spPr bwMode="auto">
            <a:xfrm>
              <a:off x="796637" y="3066762"/>
              <a:ext cx="2018530" cy="713893"/>
            </a:xfrm>
            <a:custGeom>
              <a:avLst/>
              <a:gdLst>
                <a:gd name="T0" fmla="*/ 477 w 477"/>
                <a:gd name="T1" fmla="*/ 0 h 168"/>
                <a:gd name="T2" fmla="*/ 464 w 477"/>
                <a:gd name="T3" fmla="*/ 16 h 168"/>
                <a:gd name="T4" fmla="*/ 268 w 477"/>
                <a:gd name="T5" fmla="*/ 125 h 168"/>
                <a:gd name="T6" fmla="*/ 209 w 477"/>
                <a:gd name="T7" fmla="*/ 125 h 168"/>
                <a:gd name="T8" fmla="*/ 13 w 477"/>
                <a:gd name="T9" fmla="*/ 16 h 168"/>
                <a:gd name="T10" fmla="*/ 0 w 477"/>
                <a:gd name="T11" fmla="*/ 0 h 168"/>
                <a:gd name="T12" fmla="*/ 0 w 477"/>
                <a:gd name="T13" fmla="*/ 34 h 168"/>
                <a:gd name="T14" fmla="*/ 13 w 477"/>
                <a:gd name="T15" fmla="*/ 50 h 168"/>
                <a:gd name="T16" fmla="*/ 209 w 477"/>
                <a:gd name="T17" fmla="*/ 159 h 168"/>
                <a:gd name="T18" fmla="*/ 268 w 477"/>
                <a:gd name="T19" fmla="*/ 159 h 168"/>
                <a:gd name="T20" fmla="*/ 464 w 477"/>
                <a:gd name="T21" fmla="*/ 50 h 168"/>
                <a:gd name="T22" fmla="*/ 477 w 477"/>
                <a:gd name="T23" fmla="*/ 34 h 168"/>
                <a:gd name="T24" fmla="*/ 477 w 477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7" h="168">
                  <a:moveTo>
                    <a:pt x="477" y="0"/>
                  </a:moveTo>
                  <a:cubicBezTo>
                    <a:pt x="477" y="6"/>
                    <a:pt x="473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2" y="134"/>
                    <a:pt x="225" y="134"/>
                    <a:pt x="209" y="1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5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5" y="46"/>
                    <a:pt x="13" y="50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225" y="168"/>
                    <a:pt x="252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3" y="46"/>
                    <a:pt x="477" y="40"/>
                    <a:pt x="477" y="34"/>
                  </a:cubicBezTo>
                  <a:lnTo>
                    <a:pt x="47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1ED0B9E-8746-464C-8B5B-43CB189EABC9}"/>
                </a:ext>
              </a:extLst>
            </p:cNvPr>
            <p:cNvSpPr/>
            <p:nvPr/>
          </p:nvSpPr>
          <p:spPr bwMode="auto">
            <a:xfrm>
              <a:off x="2924849" y="3678671"/>
              <a:ext cx="2049318" cy="1141075"/>
            </a:xfrm>
            <a:custGeom>
              <a:avLst/>
              <a:gdLst>
                <a:gd name="T0" fmla="*/ 468 w 484"/>
                <a:gd name="T1" fmla="*/ 118 h 269"/>
                <a:gd name="T2" fmla="*/ 468 w 484"/>
                <a:gd name="T3" fmla="*/ 151 h 269"/>
                <a:gd name="T4" fmla="*/ 272 w 484"/>
                <a:gd name="T5" fmla="*/ 260 h 269"/>
                <a:gd name="T6" fmla="*/ 212 w 484"/>
                <a:gd name="T7" fmla="*/ 260 h 269"/>
                <a:gd name="T8" fmla="*/ 16 w 484"/>
                <a:gd name="T9" fmla="*/ 151 h 269"/>
                <a:gd name="T10" fmla="*/ 16 w 484"/>
                <a:gd name="T11" fmla="*/ 118 h 269"/>
                <a:gd name="T12" fmla="*/ 212 w 484"/>
                <a:gd name="T13" fmla="*/ 9 h 269"/>
                <a:gd name="T14" fmla="*/ 272 w 484"/>
                <a:gd name="T15" fmla="*/ 9 h 269"/>
                <a:gd name="T16" fmla="*/ 468 w 484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4" h="269">
                  <a:moveTo>
                    <a:pt x="468" y="118"/>
                  </a:moveTo>
                  <a:cubicBezTo>
                    <a:pt x="484" y="127"/>
                    <a:pt x="484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2" y="260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42"/>
                    <a:pt x="0" y="127"/>
                    <a:pt x="16" y="118"/>
                  </a:cubicBezTo>
                  <a:cubicBezTo>
                    <a:pt x="212" y="9"/>
                    <a:pt x="212" y="9"/>
                    <a:pt x="212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F4A15F9-8CED-4C20-B5D3-4916B0DAF8DF}"/>
                </a:ext>
              </a:extLst>
            </p:cNvPr>
            <p:cNvSpPr/>
            <p:nvPr/>
          </p:nvSpPr>
          <p:spPr bwMode="auto">
            <a:xfrm>
              <a:off x="2942167" y="4246323"/>
              <a:ext cx="2014682" cy="717742"/>
            </a:xfrm>
            <a:custGeom>
              <a:avLst/>
              <a:gdLst>
                <a:gd name="T0" fmla="*/ 476 w 476"/>
                <a:gd name="T1" fmla="*/ 0 h 169"/>
                <a:gd name="T2" fmla="*/ 464 w 476"/>
                <a:gd name="T3" fmla="*/ 17 h 169"/>
                <a:gd name="T4" fmla="*/ 268 w 476"/>
                <a:gd name="T5" fmla="*/ 126 h 169"/>
                <a:gd name="T6" fmla="*/ 208 w 476"/>
                <a:gd name="T7" fmla="*/ 126 h 169"/>
                <a:gd name="T8" fmla="*/ 12 w 476"/>
                <a:gd name="T9" fmla="*/ 17 h 169"/>
                <a:gd name="T10" fmla="*/ 0 w 476"/>
                <a:gd name="T11" fmla="*/ 0 h 169"/>
                <a:gd name="T12" fmla="*/ 0 w 476"/>
                <a:gd name="T13" fmla="*/ 34 h 169"/>
                <a:gd name="T14" fmla="*/ 12 w 476"/>
                <a:gd name="T15" fmla="*/ 51 h 169"/>
                <a:gd name="T16" fmla="*/ 208 w 476"/>
                <a:gd name="T17" fmla="*/ 160 h 169"/>
                <a:gd name="T18" fmla="*/ 268 w 476"/>
                <a:gd name="T19" fmla="*/ 160 h 169"/>
                <a:gd name="T20" fmla="*/ 464 w 476"/>
                <a:gd name="T21" fmla="*/ 51 h 169"/>
                <a:gd name="T22" fmla="*/ 476 w 476"/>
                <a:gd name="T23" fmla="*/ 34 h 169"/>
                <a:gd name="T24" fmla="*/ 476 w 476"/>
                <a:gd name="T2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9">
                  <a:moveTo>
                    <a:pt x="476" y="0"/>
                  </a:moveTo>
                  <a:cubicBezTo>
                    <a:pt x="476" y="6"/>
                    <a:pt x="472" y="12"/>
                    <a:pt x="464" y="17"/>
                  </a:cubicBezTo>
                  <a:cubicBezTo>
                    <a:pt x="268" y="126"/>
                    <a:pt x="268" y="126"/>
                    <a:pt x="268" y="126"/>
                  </a:cubicBezTo>
                  <a:cubicBezTo>
                    <a:pt x="252" y="135"/>
                    <a:pt x="225" y="135"/>
                    <a:pt x="208" y="12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1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25" y="169"/>
                    <a:pt x="252" y="169"/>
                    <a:pt x="268" y="160"/>
                  </a:cubicBezTo>
                  <a:cubicBezTo>
                    <a:pt x="464" y="51"/>
                    <a:pt x="464" y="51"/>
                    <a:pt x="464" y="51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0ADDC72-EA75-480D-B542-EC39AB77AA07}"/>
                </a:ext>
              </a:extLst>
            </p:cNvPr>
            <p:cNvSpPr/>
            <p:nvPr/>
          </p:nvSpPr>
          <p:spPr bwMode="auto">
            <a:xfrm>
              <a:off x="5072303" y="4858232"/>
              <a:ext cx="2047394" cy="1141075"/>
            </a:xfrm>
            <a:custGeom>
              <a:avLst/>
              <a:gdLst>
                <a:gd name="T0" fmla="*/ 468 w 484"/>
                <a:gd name="T1" fmla="*/ 118 h 269"/>
                <a:gd name="T2" fmla="*/ 468 w 484"/>
                <a:gd name="T3" fmla="*/ 151 h 269"/>
                <a:gd name="T4" fmla="*/ 272 w 484"/>
                <a:gd name="T5" fmla="*/ 260 h 269"/>
                <a:gd name="T6" fmla="*/ 212 w 484"/>
                <a:gd name="T7" fmla="*/ 260 h 269"/>
                <a:gd name="T8" fmla="*/ 16 w 484"/>
                <a:gd name="T9" fmla="*/ 151 h 269"/>
                <a:gd name="T10" fmla="*/ 16 w 484"/>
                <a:gd name="T11" fmla="*/ 118 h 269"/>
                <a:gd name="T12" fmla="*/ 212 w 484"/>
                <a:gd name="T13" fmla="*/ 9 h 269"/>
                <a:gd name="T14" fmla="*/ 272 w 484"/>
                <a:gd name="T15" fmla="*/ 9 h 269"/>
                <a:gd name="T16" fmla="*/ 468 w 484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4" h="269">
                  <a:moveTo>
                    <a:pt x="468" y="118"/>
                  </a:moveTo>
                  <a:cubicBezTo>
                    <a:pt x="484" y="127"/>
                    <a:pt x="484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5" y="269"/>
                    <a:pt x="229" y="269"/>
                    <a:pt x="212" y="260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42"/>
                    <a:pt x="0" y="127"/>
                    <a:pt x="16" y="118"/>
                  </a:cubicBezTo>
                  <a:cubicBezTo>
                    <a:pt x="212" y="9"/>
                    <a:pt x="212" y="9"/>
                    <a:pt x="212" y="9"/>
                  </a:cubicBezTo>
                  <a:cubicBezTo>
                    <a:pt x="229" y="0"/>
                    <a:pt x="255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3FE78CF-6D1D-4DE2-A682-490EB478E681}"/>
                </a:ext>
              </a:extLst>
            </p:cNvPr>
            <p:cNvSpPr/>
            <p:nvPr/>
          </p:nvSpPr>
          <p:spPr bwMode="auto">
            <a:xfrm>
              <a:off x="5087697" y="5429732"/>
              <a:ext cx="2016606" cy="713893"/>
            </a:xfrm>
            <a:custGeom>
              <a:avLst/>
              <a:gdLst>
                <a:gd name="T0" fmla="*/ 476 w 476"/>
                <a:gd name="T1" fmla="*/ 0 h 168"/>
                <a:gd name="T2" fmla="*/ 464 w 476"/>
                <a:gd name="T3" fmla="*/ 16 h 168"/>
                <a:gd name="T4" fmla="*/ 268 w 476"/>
                <a:gd name="T5" fmla="*/ 125 h 168"/>
                <a:gd name="T6" fmla="*/ 208 w 476"/>
                <a:gd name="T7" fmla="*/ 125 h 168"/>
                <a:gd name="T8" fmla="*/ 12 w 476"/>
                <a:gd name="T9" fmla="*/ 16 h 168"/>
                <a:gd name="T10" fmla="*/ 0 w 476"/>
                <a:gd name="T11" fmla="*/ 0 h 168"/>
                <a:gd name="T12" fmla="*/ 0 w 476"/>
                <a:gd name="T13" fmla="*/ 34 h 168"/>
                <a:gd name="T14" fmla="*/ 12 w 476"/>
                <a:gd name="T15" fmla="*/ 50 h 168"/>
                <a:gd name="T16" fmla="*/ 208 w 476"/>
                <a:gd name="T17" fmla="*/ 159 h 168"/>
                <a:gd name="T18" fmla="*/ 268 w 476"/>
                <a:gd name="T19" fmla="*/ 159 h 168"/>
                <a:gd name="T20" fmla="*/ 464 w 476"/>
                <a:gd name="T21" fmla="*/ 50 h 168"/>
                <a:gd name="T22" fmla="*/ 476 w 476"/>
                <a:gd name="T23" fmla="*/ 34 h 168"/>
                <a:gd name="T24" fmla="*/ 476 w 476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8">
                  <a:moveTo>
                    <a:pt x="476" y="0"/>
                  </a:moveTo>
                  <a:cubicBezTo>
                    <a:pt x="476" y="6"/>
                    <a:pt x="472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1" y="134"/>
                    <a:pt x="225" y="134"/>
                    <a:pt x="208" y="12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0"/>
                  </a:cubicBezTo>
                  <a:cubicBezTo>
                    <a:pt x="208" y="159"/>
                    <a:pt x="208" y="159"/>
                    <a:pt x="208" y="159"/>
                  </a:cubicBezTo>
                  <a:cubicBezTo>
                    <a:pt x="225" y="168"/>
                    <a:pt x="251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69EF6B8-4837-4137-AEF1-F3A13BAE76C9}"/>
                </a:ext>
              </a:extLst>
            </p:cNvPr>
            <p:cNvSpPr/>
            <p:nvPr/>
          </p:nvSpPr>
          <p:spPr bwMode="auto">
            <a:xfrm>
              <a:off x="7213985" y="3678671"/>
              <a:ext cx="2053167" cy="1141075"/>
            </a:xfrm>
            <a:custGeom>
              <a:avLst/>
              <a:gdLst>
                <a:gd name="T0" fmla="*/ 469 w 485"/>
                <a:gd name="T1" fmla="*/ 118 h 269"/>
                <a:gd name="T2" fmla="*/ 469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9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9" y="118"/>
                  </a:moveTo>
                  <a:cubicBezTo>
                    <a:pt x="485" y="127"/>
                    <a:pt x="485" y="142"/>
                    <a:pt x="469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1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9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F486B61-A7AD-4E89-96E7-26EC12F2C4E8}"/>
                </a:ext>
              </a:extLst>
            </p:cNvPr>
            <p:cNvSpPr/>
            <p:nvPr/>
          </p:nvSpPr>
          <p:spPr bwMode="auto">
            <a:xfrm>
              <a:off x="7235152" y="4246323"/>
              <a:ext cx="2014682" cy="717742"/>
            </a:xfrm>
            <a:custGeom>
              <a:avLst/>
              <a:gdLst>
                <a:gd name="T0" fmla="*/ 476 w 476"/>
                <a:gd name="T1" fmla="*/ 0 h 169"/>
                <a:gd name="T2" fmla="*/ 464 w 476"/>
                <a:gd name="T3" fmla="*/ 17 h 169"/>
                <a:gd name="T4" fmla="*/ 267 w 476"/>
                <a:gd name="T5" fmla="*/ 126 h 169"/>
                <a:gd name="T6" fmla="*/ 208 w 476"/>
                <a:gd name="T7" fmla="*/ 126 h 169"/>
                <a:gd name="T8" fmla="*/ 12 w 476"/>
                <a:gd name="T9" fmla="*/ 17 h 169"/>
                <a:gd name="T10" fmla="*/ 0 w 476"/>
                <a:gd name="T11" fmla="*/ 0 h 169"/>
                <a:gd name="T12" fmla="*/ 0 w 476"/>
                <a:gd name="T13" fmla="*/ 34 h 169"/>
                <a:gd name="T14" fmla="*/ 12 w 476"/>
                <a:gd name="T15" fmla="*/ 51 h 169"/>
                <a:gd name="T16" fmla="*/ 208 w 476"/>
                <a:gd name="T17" fmla="*/ 160 h 169"/>
                <a:gd name="T18" fmla="*/ 267 w 476"/>
                <a:gd name="T19" fmla="*/ 160 h 169"/>
                <a:gd name="T20" fmla="*/ 464 w 476"/>
                <a:gd name="T21" fmla="*/ 51 h 169"/>
                <a:gd name="T22" fmla="*/ 476 w 476"/>
                <a:gd name="T23" fmla="*/ 34 h 169"/>
                <a:gd name="T24" fmla="*/ 476 w 476"/>
                <a:gd name="T2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9">
                  <a:moveTo>
                    <a:pt x="476" y="0"/>
                  </a:moveTo>
                  <a:cubicBezTo>
                    <a:pt x="476" y="6"/>
                    <a:pt x="472" y="12"/>
                    <a:pt x="464" y="17"/>
                  </a:cubicBezTo>
                  <a:cubicBezTo>
                    <a:pt x="267" y="126"/>
                    <a:pt x="267" y="126"/>
                    <a:pt x="267" y="126"/>
                  </a:cubicBezTo>
                  <a:cubicBezTo>
                    <a:pt x="251" y="135"/>
                    <a:pt x="224" y="135"/>
                    <a:pt x="208" y="12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1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24" y="169"/>
                    <a:pt x="251" y="169"/>
                    <a:pt x="267" y="160"/>
                  </a:cubicBezTo>
                  <a:cubicBezTo>
                    <a:pt x="464" y="51"/>
                    <a:pt x="464" y="51"/>
                    <a:pt x="464" y="51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F0177DC-C754-4211-81C5-FF3FA1186869}"/>
                </a:ext>
              </a:extLst>
            </p:cNvPr>
            <p:cNvSpPr/>
            <p:nvPr/>
          </p:nvSpPr>
          <p:spPr bwMode="auto">
            <a:xfrm>
              <a:off x="9359515" y="2495262"/>
              <a:ext cx="2053167" cy="1141075"/>
            </a:xfrm>
            <a:custGeom>
              <a:avLst/>
              <a:gdLst>
                <a:gd name="T0" fmla="*/ 468 w 485"/>
                <a:gd name="T1" fmla="*/ 118 h 269"/>
                <a:gd name="T2" fmla="*/ 468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8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8" y="118"/>
                  </a:moveTo>
                  <a:cubicBezTo>
                    <a:pt x="485" y="127"/>
                    <a:pt x="485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0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F4445B0-D7A9-4F41-BE0A-B091E3EEC941}"/>
                </a:ext>
              </a:extLst>
            </p:cNvPr>
            <p:cNvSpPr/>
            <p:nvPr/>
          </p:nvSpPr>
          <p:spPr bwMode="auto">
            <a:xfrm>
              <a:off x="9376834" y="3066762"/>
              <a:ext cx="2018530" cy="713893"/>
            </a:xfrm>
            <a:custGeom>
              <a:avLst/>
              <a:gdLst>
                <a:gd name="T0" fmla="*/ 477 w 477"/>
                <a:gd name="T1" fmla="*/ 0 h 168"/>
                <a:gd name="T2" fmla="*/ 464 w 477"/>
                <a:gd name="T3" fmla="*/ 16 h 168"/>
                <a:gd name="T4" fmla="*/ 268 w 477"/>
                <a:gd name="T5" fmla="*/ 125 h 168"/>
                <a:gd name="T6" fmla="*/ 209 w 477"/>
                <a:gd name="T7" fmla="*/ 125 h 168"/>
                <a:gd name="T8" fmla="*/ 13 w 477"/>
                <a:gd name="T9" fmla="*/ 16 h 168"/>
                <a:gd name="T10" fmla="*/ 0 w 477"/>
                <a:gd name="T11" fmla="*/ 0 h 168"/>
                <a:gd name="T12" fmla="*/ 0 w 477"/>
                <a:gd name="T13" fmla="*/ 34 h 168"/>
                <a:gd name="T14" fmla="*/ 13 w 477"/>
                <a:gd name="T15" fmla="*/ 50 h 168"/>
                <a:gd name="T16" fmla="*/ 209 w 477"/>
                <a:gd name="T17" fmla="*/ 159 h 168"/>
                <a:gd name="T18" fmla="*/ 268 w 477"/>
                <a:gd name="T19" fmla="*/ 159 h 168"/>
                <a:gd name="T20" fmla="*/ 464 w 477"/>
                <a:gd name="T21" fmla="*/ 50 h 168"/>
                <a:gd name="T22" fmla="*/ 477 w 477"/>
                <a:gd name="T23" fmla="*/ 34 h 168"/>
                <a:gd name="T24" fmla="*/ 477 w 477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7" h="168">
                  <a:moveTo>
                    <a:pt x="477" y="0"/>
                  </a:moveTo>
                  <a:cubicBezTo>
                    <a:pt x="477" y="6"/>
                    <a:pt x="472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2" y="134"/>
                    <a:pt x="225" y="134"/>
                    <a:pt x="209" y="1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3" y="50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225" y="168"/>
                    <a:pt x="252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2" y="46"/>
                    <a:pt x="477" y="40"/>
                    <a:pt x="477" y="34"/>
                  </a:cubicBezTo>
                  <a:lnTo>
                    <a:pt x="47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DDA827D-BAF1-44D8-B83E-0A92565DE260}"/>
                </a:ext>
              </a:extLst>
            </p:cNvPr>
            <p:cNvSpPr/>
            <p:nvPr/>
          </p:nvSpPr>
          <p:spPr bwMode="auto">
            <a:xfrm>
              <a:off x="1481050" y="2802862"/>
              <a:ext cx="649702" cy="525874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500751F-9E2A-4986-BE62-B355D43C80D6}"/>
                </a:ext>
              </a:extLst>
            </p:cNvPr>
            <p:cNvSpPr/>
            <p:nvPr/>
          </p:nvSpPr>
          <p:spPr bwMode="auto">
            <a:xfrm>
              <a:off x="3690679" y="4000209"/>
              <a:ext cx="517658" cy="497998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EC18BE6-57CB-4769-B0B7-664BB06CF436}"/>
                </a:ext>
              </a:extLst>
            </p:cNvPr>
            <p:cNvSpPr/>
            <p:nvPr/>
          </p:nvSpPr>
          <p:spPr bwMode="auto">
            <a:xfrm>
              <a:off x="8002891" y="3989052"/>
              <a:ext cx="475354" cy="45716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5A9B53B-5438-463C-BD38-AFC9A204559D}"/>
                </a:ext>
              </a:extLst>
            </p:cNvPr>
            <p:cNvSpPr/>
            <p:nvPr/>
          </p:nvSpPr>
          <p:spPr bwMode="auto">
            <a:xfrm>
              <a:off x="5819815" y="5187677"/>
              <a:ext cx="552370" cy="482184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1574AB87-3F39-4859-8F19-BC9684991340}"/>
                </a:ext>
              </a:extLst>
            </p:cNvPr>
            <p:cNvSpPr/>
            <p:nvPr/>
          </p:nvSpPr>
          <p:spPr bwMode="auto">
            <a:xfrm>
              <a:off x="10136724" y="2816893"/>
              <a:ext cx="498748" cy="497812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7853BA4E-0645-4CED-9342-E4554DD3268A}"/>
                </a:ext>
              </a:extLst>
            </p:cNvPr>
            <p:cNvGrpSpPr/>
            <p:nvPr/>
          </p:nvGrpSpPr>
          <p:grpSpPr>
            <a:xfrm>
              <a:off x="826811" y="1217303"/>
              <a:ext cx="1958179" cy="1216383"/>
              <a:chOff x="883924" y="3952876"/>
              <a:chExt cx="1827794" cy="1216383"/>
            </a:xfrm>
          </p:grpSpPr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B0656D2D-117C-435F-A588-95908BCD0ACB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383BE649-C145-475B-99FE-EB397DD4CD6B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4A5AC10D-617C-4BE4-A181-A14E62CFE037}"/>
                </a:ext>
              </a:extLst>
            </p:cNvPr>
            <p:cNvGrpSpPr/>
            <p:nvPr/>
          </p:nvGrpSpPr>
          <p:grpSpPr>
            <a:xfrm>
              <a:off x="2970418" y="2462288"/>
              <a:ext cx="1958179" cy="1216383"/>
              <a:chOff x="883924" y="3952876"/>
              <a:chExt cx="1827794" cy="1216383"/>
            </a:xfrm>
          </p:grpSpPr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433F33A3-CB31-46DF-9823-1A102D761CC4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55365B56-6EBE-43E5-9DFB-12983B795017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51FAB2CC-D9BD-4743-81D9-903EADE8121F}"/>
                </a:ext>
              </a:extLst>
            </p:cNvPr>
            <p:cNvGrpSpPr/>
            <p:nvPr/>
          </p:nvGrpSpPr>
          <p:grpSpPr>
            <a:xfrm>
              <a:off x="7261478" y="2462288"/>
              <a:ext cx="1958179" cy="1216383"/>
              <a:chOff x="883924" y="3952876"/>
              <a:chExt cx="1827794" cy="1216383"/>
            </a:xfrm>
          </p:grpSpPr>
          <p:sp>
            <p:nvSpPr>
              <p:cNvPr id="36" name="矩形 35">
                <a:extLst>
                  <a:ext uri="{FF2B5EF4-FFF2-40B4-BE49-F238E27FC236}">
                    <a16:creationId xmlns:a16="http://schemas.microsoft.com/office/drawing/2014/main" id="{39B686D0-2886-4946-84A1-F8450EC555C0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9C67F8A2-1BD4-48CE-AA11-B011C2546623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7EAD66F2-E431-43A6-9AB8-30398B5FA144}"/>
                </a:ext>
              </a:extLst>
            </p:cNvPr>
            <p:cNvGrpSpPr/>
            <p:nvPr/>
          </p:nvGrpSpPr>
          <p:grpSpPr>
            <a:xfrm>
              <a:off x="9407008" y="1217303"/>
              <a:ext cx="1958179" cy="1216383"/>
              <a:chOff x="883924" y="3952876"/>
              <a:chExt cx="1827794" cy="1216383"/>
            </a:xfrm>
          </p:grpSpPr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A694D85A-8125-4EF2-84FB-5B41F2273430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C4EAFEF3-B077-4B24-9F97-562988F3C499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C1D43B27-E750-4DBE-A156-B631A2352B7B}"/>
                </a:ext>
              </a:extLst>
            </p:cNvPr>
            <p:cNvGrpSpPr/>
            <p:nvPr/>
          </p:nvGrpSpPr>
          <p:grpSpPr>
            <a:xfrm>
              <a:off x="5116910" y="3593550"/>
              <a:ext cx="1958179" cy="1216383"/>
              <a:chOff x="883924" y="3952876"/>
              <a:chExt cx="1827794" cy="1216383"/>
            </a:xfrm>
          </p:grpSpPr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89FA5FB7-7C35-45A6-9D48-CED175AEFABE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680FE411-7D86-48BF-B4C9-992CDF3C700B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3364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73177F-6EDE-48EB-B49E-658F9914E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70C599F-0C68-4AD4-964E-0017926C0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7941EF3-20C7-41C4-B3AE-6CB34C0B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9776451-ED01-4CB6-B40C-EB024A8F6570}"/>
              </a:ext>
            </a:extLst>
          </p:cNvPr>
          <p:cNvGrpSpPr>
            <a:grpSpLocks noChangeAspect="1"/>
          </p:cNvGrpSpPr>
          <p:nvPr/>
        </p:nvGrpSpPr>
        <p:grpSpPr>
          <a:xfrm>
            <a:off x="2085162" y="1609155"/>
            <a:ext cx="8111169" cy="3835470"/>
            <a:chOff x="2085162" y="1609155"/>
            <a:chExt cx="8111169" cy="383547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E5444FAE-F72E-4B06-B8F9-63B06880E1F0}"/>
                </a:ext>
              </a:extLst>
            </p:cNvPr>
            <p:cNvGrpSpPr/>
            <p:nvPr/>
          </p:nvGrpSpPr>
          <p:grpSpPr>
            <a:xfrm>
              <a:off x="4535472" y="2071672"/>
              <a:ext cx="3121056" cy="3121056"/>
              <a:chOff x="4529122" y="2071672"/>
              <a:chExt cx="3121056" cy="3121056"/>
            </a:xfrm>
          </p:grpSpPr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F0CF0692-A191-487A-ADE8-77E53C10C8EA}"/>
                  </a:ext>
                </a:extLst>
              </p:cNvPr>
              <p:cNvSpPr/>
              <p:nvPr/>
            </p:nvSpPr>
            <p:spPr>
              <a:xfrm>
                <a:off x="5134662" y="2677212"/>
                <a:ext cx="1909976" cy="190997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F6C1FCC8-9393-41B9-B046-2F8187F8DFA1}"/>
                  </a:ext>
                </a:extLst>
              </p:cNvPr>
              <p:cNvSpPr/>
              <p:nvPr/>
            </p:nvSpPr>
            <p:spPr>
              <a:xfrm>
                <a:off x="4529122" y="2071672"/>
                <a:ext cx="3121056" cy="3121056"/>
              </a:xfrm>
              <a:prstGeom prst="ellipse">
                <a:avLst/>
              </a:prstGeom>
              <a:noFill/>
              <a:ln w="76200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箭头: 右 16">
                <a:extLst>
                  <a:ext uri="{FF2B5EF4-FFF2-40B4-BE49-F238E27FC236}">
                    <a16:creationId xmlns:a16="http://schemas.microsoft.com/office/drawing/2014/main" id="{5C4EC19B-84B7-4D39-8724-00F04733AE24}"/>
                  </a:ext>
                </a:extLst>
              </p:cNvPr>
              <p:cNvSpPr/>
              <p:nvPr/>
            </p:nvSpPr>
            <p:spPr>
              <a:xfrm rot="13500000">
                <a:off x="5271079" y="2741615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箭头: 右 17">
                <a:extLst>
                  <a:ext uri="{FF2B5EF4-FFF2-40B4-BE49-F238E27FC236}">
                    <a16:creationId xmlns:a16="http://schemas.microsoft.com/office/drawing/2014/main" id="{341720F7-9419-41B7-BF78-FCE98E4F67BB}"/>
                  </a:ext>
                </a:extLst>
              </p:cNvPr>
              <p:cNvSpPr/>
              <p:nvPr/>
            </p:nvSpPr>
            <p:spPr>
              <a:xfrm rot="8100000" flipH="1">
                <a:off x="6583765" y="2741615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箭头: 右 18">
                <a:extLst>
                  <a:ext uri="{FF2B5EF4-FFF2-40B4-BE49-F238E27FC236}">
                    <a16:creationId xmlns:a16="http://schemas.microsoft.com/office/drawing/2014/main" id="{399E1FB1-D7DE-4C15-9BC0-73A6A6C452EB}"/>
                  </a:ext>
                </a:extLst>
              </p:cNvPr>
              <p:cNvSpPr/>
              <p:nvPr/>
            </p:nvSpPr>
            <p:spPr>
              <a:xfrm rot="8100000" flipV="1">
                <a:off x="5271079" y="4258384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箭头: 右 19">
                <a:extLst>
                  <a:ext uri="{FF2B5EF4-FFF2-40B4-BE49-F238E27FC236}">
                    <a16:creationId xmlns:a16="http://schemas.microsoft.com/office/drawing/2014/main" id="{BB9E0AA0-BB76-4E59-A7F7-CF2234C4F6CF}"/>
                  </a:ext>
                </a:extLst>
              </p:cNvPr>
              <p:cNvSpPr/>
              <p:nvPr/>
            </p:nvSpPr>
            <p:spPr>
              <a:xfrm rot="13500000" flipH="1" flipV="1">
                <a:off x="6583765" y="4258384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6A866302-169B-4457-9AB9-5431D74B8D6C}"/>
                  </a:ext>
                </a:extLst>
              </p:cNvPr>
              <p:cNvSpPr/>
              <p:nvPr/>
            </p:nvSpPr>
            <p:spPr>
              <a:xfrm>
                <a:off x="5401939" y="2944489"/>
                <a:ext cx="1375422" cy="1375422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>
                    <a:solidFill>
                      <a:schemeClr val="bg1"/>
                    </a:solidFill>
                    <a:cs typeface="+mn-ea"/>
                    <a:sym typeface="+mn-lt"/>
                  </a:rPr>
                  <a:t>Text</a:t>
                </a:r>
                <a:endParaRPr lang="zh-CN" altLang="en-US" b="1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D062D6AB-E171-456C-BCBC-37020E025E85}"/>
                  </a:ext>
                </a:extLst>
              </p:cNvPr>
              <p:cNvGrpSpPr/>
              <p:nvPr/>
            </p:nvGrpSpPr>
            <p:grpSpPr>
              <a:xfrm>
                <a:off x="4619574" y="2082560"/>
                <a:ext cx="670163" cy="670163"/>
                <a:chOff x="4263044" y="3074793"/>
                <a:chExt cx="670163" cy="670163"/>
              </a:xfrm>
            </p:grpSpPr>
            <p:sp>
              <p:nvSpPr>
                <p:cNvPr id="32" name="椭圆 31">
                  <a:extLst>
                    <a:ext uri="{FF2B5EF4-FFF2-40B4-BE49-F238E27FC236}">
                      <a16:creationId xmlns:a16="http://schemas.microsoft.com/office/drawing/2014/main" id="{A1634ABC-F6A5-435D-8598-B65B1B838CB0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0F664164-2355-4B36-AB5E-6E05796DAC9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F28D626C-2910-49A3-A9B8-09E1D8864C52}"/>
                  </a:ext>
                </a:extLst>
              </p:cNvPr>
              <p:cNvGrpSpPr/>
              <p:nvPr/>
            </p:nvGrpSpPr>
            <p:grpSpPr>
              <a:xfrm>
                <a:off x="6822624" y="2082560"/>
                <a:ext cx="670163" cy="670163"/>
                <a:chOff x="4263044" y="3074793"/>
                <a:chExt cx="670163" cy="670163"/>
              </a:xfrm>
            </p:grpSpPr>
            <p:sp>
              <p:nvSpPr>
                <p:cNvPr id="30" name="椭圆 29">
                  <a:extLst>
                    <a:ext uri="{FF2B5EF4-FFF2-40B4-BE49-F238E27FC236}">
                      <a16:creationId xmlns:a16="http://schemas.microsoft.com/office/drawing/2014/main" id="{DDC27EDD-7067-44A1-AF06-FAC882DFC078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067297EF-664B-4A02-8BE3-9419041D54F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831E959A-82B7-425C-A991-DC868C09E1C1}"/>
                  </a:ext>
                </a:extLst>
              </p:cNvPr>
              <p:cNvGrpSpPr/>
              <p:nvPr/>
            </p:nvGrpSpPr>
            <p:grpSpPr>
              <a:xfrm>
                <a:off x="4619574" y="4484459"/>
                <a:ext cx="670163" cy="670163"/>
                <a:chOff x="4263044" y="3074793"/>
                <a:chExt cx="670163" cy="670163"/>
              </a:xfrm>
            </p:grpSpPr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1108AF7A-44F7-4AB5-B09A-62F025770881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B6C823BA-B126-48DD-8DD0-C32FEFF91EE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865DC59-C19B-48D3-9F31-86C7A4520E93}"/>
                  </a:ext>
                </a:extLst>
              </p:cNvPr>
              <p:cNvGrpSpPr/>
              <p:nvPr/>
            </p:nvGrpSpPr>
            <p:grpSpPr>
              <a:xfrm>
                <a:off x="6822624" y="4484459"/>
                <a:ext cx="670163" cy="670163"/>
                <a:chOff x="4263044" y="3074793"/>
                <a:chExt cx="670163" cy="670163"/>
              </a:xfrm>
            </p:grpSpPr>
            <p:sp>
              <p:nvSpPr>
                <p:cNvPr id="26" name="椭圆 25">
                  <a:extLst>
                    <a:ext uri="{FF2B5EF4-FFF2-40B4-BE49-F238E27FC236}">
                      <a16:creationId xmlns:a16="http://schemas.microsoft.com/office/drawing/2014/main" id="{1B752194-1189-4E90-A315-511FCB5F6872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C901AD21-D859-4B71-A380-98456C2403D2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3DD709B6-6C25-495C-9F89-C778B1EFDFAA}"/>
                </a:ext>
              </a:extLst>
            </p:cNvPr>
            <p:cNvSpPr txBox="1"/>
            <p:nvPr/>
          </p:nvSpPr>
          <p:spPr>
            <a:xfrm>
              <a:off x="2085162" y="1609155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9B084BE-89B5-4A46-B6D3-6D741AFEED34}"/>
                </a:ext>
              </a:extLst>
            </p:cNvPr>
            <p:cNvSpPr/>
            <p:nvPr/>
          </p:nvSpPr>
          <p:spPr bwMode="auto">
            <a:xfrm>
              <a:off x="2085162" y="2063354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EB38920-414D-409C-9658-C86222FE5CE0}"/>
                </a:ext>
              </a:extLst>
            </p:cNvPr>
            <p:cNvSpPr txBox="1"/>
            <p:nvPr/>
          </p:nvSpPr>
          <p:spPr>
            <a:xfrm>
              <a:off x="2085162" y="4301057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87FF5F2-A872-4012-920F-B217C8AFA3C8}"/>
                </a:ext>
              </a:extLst>
            </p:cNvPr>
            <p:cNvSpPr/>
            <p:nvPr/>
          </p:nvSpPr>
          <p:spPr bwMode="auto">
            <a:xfrm>
              <a:off x="2085162" y="4755256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24BD59E0-4262-4D5E-A9A7-9E2FE8BDADEB}"/>
                </a:ext>
              </a:extLst>
            </p:cNvPr>
            <p:cNvSpPr txBox="1"/>
            <p:nvPr/>
          </p:nvSpPr>
          <p:spPr>
            <a:xfrm>
              <a:off x="7783961" y="1609155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CD18FC6-20CB-4EC3-9694-32E2011029CF}"/>
                </a:ext>
              </a:extLst>
            </p:cNvPr>
            <p:cNvSpPr/>
            <p:nvPr/>
          </p:nvSpPr>
          <p:spPr bwMode="auto">
            <a:xfrm>
              <a:off x="7783961" y="2063354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8970A101-AF78-492B-AE17-28A3F17EF812}"/>
                </a:ext>
              </a:extLst>
            </p:cNvPr>
            <p:cNvSpPr txBox="1"/>
            <p:nvPr/>
          </p:nvSpPr>
          <p:spPr>
            <a:xfrm>
              <a:off x="7783961" y="4301057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5C95E60A-95B9-43F4-9B1F-14E3D6B59D94}"/>
                </a:ext>
              </a:extLst>
            </p:cNvPr>
            <p:cNvSpPr/>
            <p:nvPr/>
          </p:nvSpPr>
          <p:spPr bwMode="auto">
            <a:xfrm>
              <a:off x="7783961" y="4755256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62115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AB055-0FC3-4660-9F4E-6B622AACB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2A02876-A8D3-4D1E-8D21-3574E9C58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C97CAE-3C7A-41F0-8176-2B6DBE499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1740874-C46D-47AA-BEA2-2F63330ABB23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822634"/>
            <a:ext cx="9827746" cy="3631832"/>
            <a:chOff x="669925" y="1822634"/>
            <a:chExt cx="9827746" cy="363183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E2C3B6F-F793-40F0-8590-4AAFE29C4617}"/>
                </a:ext>
              </a:extLst>
            </p:cNvPr>
            <p:cNvSpPr/>
            <p:nvPr/>
          </p:nvSpPr>
          <p:spPr bwMode="auto">
            <a:xfrm>
              <a:off x="3911396" y="2529682"/>
              <a:ext cx="2538413" cy="2217737"/>
            </a:xfrm>
            <a:custGeom>
              <a:avLst/>
              <a:gdLst>
                <a:gd name="T0" fmla="*/ 4140 w 26630"/>
                <a:gd name="T1" fmla="*/ 4140 h 23273"/>
                <a:gd name="T2" fmla="*/ 19133 w 26630"/>
                <a:gd name="T3" fmla="*/ 4140 h 23273"/>
                <a:gd name="T4" fmla="*/ 26630 w 26630"/>
                <a:gd name="T5" fmla="*/ 11637 h 23273"/>
                <a:gd name="T6" fmla="*/ 19133 w 26630"/>
                <a:gd name="T7" fmla="*/ 19133 h 23273"/>
                <a:gd name="T8" fmla="*/ 4140 w 26630"/>
                <a:gd name="T9" fmla="*/ 19133 h 23273"/>
                <a:gd name="T10" fmla="*/ 4140 w 26630"/>
                <a:gd name="T11" fmla="*/ 4140 h 23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30" h="23273">
                  <a:moveTo>
                    <a:pt x="4140" y="4140"/>
                  </a:moveTo>
                  <a:cubicBezTo>
                    <a:pt x="8281" y="0"/>
                    <a:pt x="14993" y="0"/>
                    <a:pt x="19133" y="4140"/>
                  </a:cubicBezTo>
                  <a:cubicBezTo>
                    <a:pt x="21632" y="6639"/>
                    <a:pt x="24131" y="9138"/>
                    <a:pt x="26630" y="11637"/>
                  </a:cubicBezTo>
                  <a:cubicBezTo>
                    <a:pt x="24131" y="14135"/>
                    <a:pt x="21632" y="16634"/>
                    <a:pt x="19133" y="19133"/>
                  </a:cubicBezTo>
                  <a:cubicBezTo>
                    <a:pt x="14993" y="23273"/>
                    <a:pt x="8281" y="23273"/>
                    <a:pt x="4140" y="19133"/>
                  </a:cubicBezTo>
                  <a:cubicBezTo>
                    <a:pt x="0" y="14993"/>
                    <a:pt x="0" y="8280"/>
                    <a:pt x="4140" y="4140"/>
                  </a:cubicBezTo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240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0F61CFB-0A64-4EE8-B495-1C07C5CAB906}"/>
                </a:ext>
              </a:extLst>
            </p:cNvPr>
            <p:cNvGrpSpPr/>
            <p:nvPr/>
          </p:nvGrpSpPr>
          <p:grpSpPr>
            <a:xfrm>
              <a:off x="5783698" y="1838433"/>
              <a:ext cx="1416858" cy="1416858"/>
              <a:chOff x="5783698" y="1838433"/>
              <a:chExt cx="1416858" cy="1416858"/>
            </a:xfrm>
          </p:grpSpPr>
          <p:sp>
            <p:nvSpPr>
              <p:cNvPr id="26" name="泪滴形 25">
                <a:extLst>
                  <a:ext uri="{FF2B5EF4-FFF2-40B4-BE49-F238E27FC236}">
                    <a16:creationId xmlns:a16="http://schemas.microsoft.com/office/drawing/2014/main" id="{79247EDF-35B6-4EFA-9F22-7A167F07AC0D}"/>
                  </a:ext>
                </a:extLst>
              </p:cNvPr>
              <p:cNvSpPr/>
              <p:nvPr/>
            </p:nvSpPr>
            <p:spPr>
              <a:xfrm rot="13500000" flipH="1">
                <a:off x="5783698" y="1838433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BA5342E0-B1A1-416D-AFD0-A3CD049ED2C7}"/>
                  </a:ext>
                </a:extLst>
              </p:cNvPr>
              <p:cNvSpPr/>
              <p:nvPr/>
            </p:nvSpPr>
            <p:spPr>
              <a:xfrm>
                <a:off x="6268009" y="2343503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3EBBAF9-7DE9-43B2-B8F6-72C9EFFA7C3B}"/>
                </a:ext>
              </a:extLst>
            </p:cNvPr>
            <p:cNvGrpSpPr/>
            <p:nvPr/>
          </p:nvGrpSpPr>
          <p:grpSpPr>
            <a:xfrm>
              <a:off x="6863746" y="2930121"/>
              <a:ext cx="1416858" cy="1416858"/>
              <a:chOff x="6863746" y="2930121"/>
              <a:chExt cx="1416858" cy="1416858"/>
            </a:xfrm>
          </p:grpSpPr>
          <p:sp>
            <p:nvSpPr>
              <p:cNvPr id="24" name="泪滴形 23">
                <a:extLst>
                  <a:ext uri="{FF2B5EF4-FFF2-40B4-BE49-F238E27FC236}">
                    <a16:creationId xmlns:a16="http://schemas.microsoft.com/office/drawing/2014/main" id="{A869661F-95E3-4A09-9166-114698DC0220}"/>
                  </a:ext>
                </a:extLst>
              </p:cNvPr>
              <p:cNvSpPr/>
              <p:nvPr/>
            </p:nvSpPr>
            <p:spPr>
              <a:xfrm rot="18900000" flipH="1">
                <a:off x="6863746" y="2930121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458119A0-AC73-4359-8BCA-6FD48FE4F59A}"/>
                  </a:ext>
                </a:extLst>
              </p:cNvPr>
              <p:cNvSpPr/>
              <p:nvPr/>
            </p:nvSpPr>
            <p:spPr>
              <a:xfrm>
                <a:off x="7348057" y="3435191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B681D6A8-3D24-4A2B-8BA3-92A19699CD9B}"/>
                </a:ext>
              </a:extLst>
            </p:cNvPr>
            <p:cNvGrpSpPr/>
            <p:nvPr/>
          </p:nvGrpSpPr>
          <p:grpSpPr>
            <a:xfrm>
              <a:off x="5783698" y="4021809"/>
              <a:ext cx="1416858" cy="1416858"/>
              <a:chOff x="5783698" y="4021809"/>
              <a:chExt cx="1416858" cy="1416858"/>
            </a:xfrm>
          </p:grpSpPr>
          <p:sp>
            <p:nvSpPr>
              <p:cNvPr id="22" name="泪滴形 21">
                <a:extLst>
                  <a:ext uri="{FF2B5EF4-FFF2-40B4-BE49-F238E27FC236}">
                    <a16:creationId xmlns:a16="http://schemas.microsoft.com/office/drawing/2014/main" id="{F80776D0-AC2C-40E0-844E-9F9F6BAB9BA2}"/>
                  </a:ext>
                </a:extLst>
              </p:cNvPr>
              <p:cNvSpPr/>
              <p:nvPr/>
            </p:nvSpPr>
            <p:spPr>
              <a:xfrm rot="8100000" flipH="1" flipV="1">
                <a:off x="5783698" y="4021809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BBEF67D8-55EF-4726-8965-36989AE7E137}"/>
                  </a:ext>
                </a:extLst>
              </p:cNvPr>
              <p:cNvSpPr/>
              <p:nvPr/>
            </p:nvSpPr>
            <p:spPr>
              <a:xfrm>
                <a:off x="6268009" y="4526879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7493997" y="1822634"/>
              <a:ext cx="1862718" cy="878872"/>
              <a:chOff x="5875776" y="1130300"/>
              <a:chExt cx="1763279" cy="878872"/>
            </a:xfrm>
          </p:grpSpPr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8634953" y="3199114"/>
              <a:ext cx="1862718" cy="878872"/>
              <a:chOff x="5875776" y="1130300"/>
              <a:chExt cx="1763279" cy="878872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7493997" y="4575594"/>
              <a:ext cx="1862718" cy="878872"/>
              <a:chOff x="5875776" y="1130300"/>
              <a:chExt cx="1763279" cy="878872"/>
            </a:xfrm>
          </p:grpSpPr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E7C4FE2E-3578-40D6-87D7-2DD59264A2EF}"/>
                </a:ext>
              </a:extLst>
            </p:cNvPr>
            <p:cNvGrpSpPr/>
            <p:nvPr/>
          </p:nvGrpSpPr>
          <p:grpSpPr>
            <a:xfrm>
              <a:off x="669925" y="2946353"/>
              <a:ext cx="3062171" cy="1384395"/>
              <a:chOff x="2027621" y="2529682"/>
              <a:chExt cx="1763279" cy="138439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2027621" y="2529682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2027621" y="2921795"/>
                <a:ext cx="1763279" cy="99228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3086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3A6ABF-3330-4490-82F9-9A8609394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69D657-32FA-4889-89AD-7A31CD758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FDA8D10-1EDB-4112-BBCE-0A8A1E14A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4E1D0C5-CB59-4D39-83DD-B546142E9E7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370619"/>
            <a:ext cx="10850563" cy="4336942"/>
            <a:chOff x="669925" y="1370615"/>
            <a:chExt cx="10850563" cy="433694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827CCA9E-A561-45CE-83C6-12270F4458F3}"/>
                </a:ext>
              </a:extLst>
            </p:cNvPr>
            <p:cNvGrpSpPr/>
            <p:nvPr/>
          </p:nvGrpSpPr>
          <p:grpSpPr>
            <a:xfrm>
              <a:off x="1683596" y="1370615"/>
              <a:ext cx="8824897" cy="4336942"/>
              <a:chOff x="3011299" y="414885"/>
              <a:chExt cx="5646553" cy="2774950"/>
            </a:xfrm>
            <a:solidFill>
              <a:srgbClr val="E4E6EA">
                <a:alpha val="40000"/>
              </a:srgbClr>
            </a:solidFill>
          </p:grpSpPr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9755E3BF-12C0-41E0-84C7-AB6B2BD62814}"/>
                  </a:ext>
                </a:extLst>
              </p:cNvPr>
              <p:cNvSpPr/>
              <p:nvPr/>
            </p:nvSpPr>
            <p:spPr bwMode="auto">
              <a:xfrm>
                <a:off x="6523059" y="505936"/>
                <a:ext cx="42023" cy="22413"/>
              </a:xfrm>
              <a:custGeom>
                <a:avLst/>
                <a:gdLst>
                  <a:gd name="T0" fmla="*/ 10 w 20"/>
                  <a:gd name="T1" fmla="*/ 0 h 11"/>
                  <a:gd name="T2" fmla="*/ 12 w 20"/>
                  <a:gd name="T3" fmla="*/ 2 h 11"/>
                  <a:gd name="T4" fmla="*/ 16 w 20"/>
                  <a:gd name="T5" fmla="*/ 9 h 11"/>
                  <a:gd name="T6" fmla="*/ 6 w 20"/>
                  <a:gd name="T7" fmla="*/ 6 h 11"/>
                  <a:gd name="T8" fmla="*/ 10 w 20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4" y="5"/>
                      <a:pt x="20" y="5"/>
                      <a:pt x="16" y="9"/>
                    </a:cubicBezTo>
                    <a:cubicBezTo>
                      <a:pt x="10" y="11"/>
                      <a:pt x="13" y="3"/>
                      <a:pt x="6" y="6"/>
                    </a:cubicBezTo>
                    <a:cubicBezTo>
                      <a:pt x="0" y="3"/>
                      <a:pt x="14" y="6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3698576E-79CF-4E49-989F-718978062A64}"/>
                  </a:ext>
                </a:extLst>
              </p:cNvPr>
              <p:cNvSpPr/>
              <p:nvPr/>
            </p:nvSpPr>
            <p:spPr bwMode="auto">
              <a:xfrm>
                <a:off x="7114188" y="505936"/>
                <a:ext cx="81245" cy="42023"/>
              </a:xfrm>
              <a:custGeom>
                <a:avLst/>
                <a:gdLst>
                  <a:gd name="T0" fmla="*/ 37 w 39"/>
                  <a:gd name="T1" fmla="*/ 15 h 20"/>
                  <a:gd name="T2" fmla="*/ 23 w 39"/>
                  <a:gd name="T3" fmla="*/ 19 h 20"/>
                  <a:gd name="T4" fmla="*/ 4 w 39"/>
                  <a:gd name="T5" fmla="*/ 19 h 20"/>
                  <a:gd name="T6" fmla="*/ 0 w 39"/>
                  <a:gd name="T7" fmla="*/ 15 h 20"/>
                  <a:gd name="T8" fmla="*/ 30 w 39"/>
                  <a:gd name="T9" fmla="*/ 0 h 20"/>
                  <a:gd name="T10" fmla="*/ 36 w 39"/>
                  <a:gd name="T11" fmla="*/ 4 h 20"/>
                  <a:gd name="T12" fmla="*/ 32 w 39"/>
                  <a:gd name="T13" fmla="*/ 6 h 20"/>
                  <a:gd name="T14" fmla="*/ 37 w 39"/>
                  <a:gd name="T15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20">
                    <a:moveTo>
                      <a:pt x="37" y="15"/>
                    </a:moveTo>
                    <a:cubicBezTo>
                      <a:pt x="32" y="16"/>
                      <a:pt x="23" y="13"/>
                      <a:pt x="23" y="19"/>
                    </a:cubicBezTo>
                    <a:cubicBezTo>
                      <a:pt x="19" y="16"/>
                      <a:pt x="12" y="20"/>
                      <a:pt x="4" y="19"/>
                    </a:cubicBezTo>
                    <a:cubicBezTo>
                      <a:pt x="5" y="16"/>
                      <a:pt x="2" y="15"/>
                      <a:pt x="0" y="15"/>
                    </a:cubicBezTo>
                    <a:cubicBezTo>
                      <a:pt x="4" y="4"/>
                      <a:pt x="15" y="0"/>
                      <a:pt x="30" y="0"/>
                    </a:cubicBezTo>
                    <a:cubicBezTo>
                      <a:pt x="28" y="5"/>
                      <a:pt x="34" y="2"/>
                      <a:pt x="36" y="4"/>
                    </a:cubicBezTo>
                    <a:cubicBezTo>
                      <a:pt x="37" y="5"/>
                      <a:pt x="32" y="5"/>
                      <a:pt x="32" y="6"/>
                    </a:cubicBezTo>
                    <a:cubicBezTo>
                      <a:pt x="31" y="8"/>
                      <a:pt x="39" y="7"/>
                      <a:pt x="37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E73EF612-DB0B-4F8C-A190-3BFA890C63FD}"/>
                  </a:ext>
                </a:extLst>
              </p:cNvPr>
              <p:cNvSpPr/>
              <p:nvPr/>
            </p:nvSpPr>
            <p:spPr bwMode="auto">
              <a:xfrm>
                <a:off x="6651931" y="510139"/>
                <a:ext cx="39222" cy="22413"/>
              </a:xfrm>
              <a:custGeom>
                <a:avLst/>
                <a:gdLst>
                  <a:gd name="T0" fmla="*/ 19 w 19"/>
                  <a:gd name="T1" fmla="*/ 2 h 11"/>
                  <a:gd name="T2" fmla="*/ 17 w 19"/>
                  <a:gd name="T3" fmla="*/ 9 h 11"/>
                  <a:gd name="T4" fmla="*/ 10 w 19"/>
                  <a:gd name="T5" fmla="*/ 11 h 11"/>
                  <a:gd name="T6" fmla="*/ 0 w 19"/>
                  <a:gd name="T7" fmla="*/ 6 h 11"/>
                  <a:gd name="T8" fmla="*/ 12 w 19"/>
                  <a:gd name="T9" fmla="*/ 6 h 11"/>
                  <a:gd name="T10" fmla="*/ 19 w 19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1">
                    <a:moveTo>
                      <a:pt x="19" y="2"/>
                    </a:moveTo>
                    <a:cubicBezTo>
                      <a:pt x="18" y="3"/>
                      <a:pt x="17" y="6"/>
                      <a:pt x="17" y="9"/>
                    </a:cubicBezTo>
                    <a:cubicBezTo>
                      <a:pt x="13" y="8"/>
                      <a:pt x="12" y="11"/>
                      <a:pt x="10" y="11"/>
                    </a:cubicBezTo>
                    <a:cubicBezTo>
                      <a:pt x="6" y="9"/>
                      <a:pt x="0" y="11"/>
                      <a:pt x="0" y="6"/>
                    </a:cubicBezTo>
                    <a:cubicBezTo>
                      <a:pt x="6" y="6"/>
                      <a:pt x="8" y="1"/>
                      <a:pt x="12" y="6"/>
                    </a:cubicBezTo>
                    <a:cubicBezTo>
                      <a:pt x="14" y="5"/>
                      <a:pt x="13" y="0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66A940E0-84C6-42C5-9C20-40C506312FF9}"/>
                  </a:ext>
                </a:extLst>
              </p:cNvPr>
              <p:cNvSpPr/>
              <p:nvPr/>
            </p:nvSpPr>
            <p:spPr bwMode="auto">
              <a:xfrm>
                <a:off x="6402592" y="522746"/>
                <a:ext cx="50428" cy="26615"/>
              </a:xfrm>
              <a:custGeom>
                <a:avLst/>
                <a:gdLst>
                  <a:gd name="T0" fmla="*/ 23 w 24"/>
                  <a:gd name="T1" fmla="*/ 0 h 13"/>
                  <a:gd name="T2" fmla="*/ 20 w 24"/>
                  <a:gd name="T3" fmla="*/ 5 h 13"/>
                  <a:gd name="T4" fmla="*/ 14 w 24"/>
                  <a:gd name="T5" fmla="*/ 11 h 13"/>
                  <a:gd name="T6" fmla="*/ 10 w 24"/>
                  <a:gd name="T7" fmla="*/ 7 h 13"/>
                  <a:gd name="T8" fmla="*/ 5 w 24"/>
                  <a:gd name="T9" fmla="*/ 9 h 13"/>
                  <a:gd name="T10" fmla="*/ 1 w 24"/>
                  <a:gd name="T11" fmla="*/ 5 h 13"/>
                  <a:gd name="T12" fmla="*/ 10 w 24"/>
                  <a:gd name="T13" fmla="*/ 3 h 13"/>
                  <a:gd name="T14" fmla="*/ 10 w 24"/>
                  <a:gd name="T15" fmla="*/ 1 h 13"/>
                  <a:gd name="T16" fmla="*/ 23 w 2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3">
                    <a:moveTo>
                      <a:pt x="23" y="0"/>
                    </a:moveTo>
                    <a:cubicBezTo>
                      <a:pt x="24" y="4"/>
                      <a:pt x="20" y="2"/>
                      <a:pt x="20" y="5"/>
                    </a:cubicBezTo>
                    <a:cubicBezTo>
                      <a:pt x="20" y="6"/>
                      <a:pt x="17" y="10"/>
                      <a:pt x="14" y="11"/>
                    </a:cubicBezTo>
                    <a:cubicBezTo>
                      <a:pt x="10" y="13"/>
                      <a:pt x="11" y="7"/>
                      <a:pt x="10" y="7"/>
                    </a:cubicBezTo>
                    <a:cubicBezTo>
                      <a:pt x="10" y="7"/>
                      <a:pt x="7" y="9"/>
                      <a:pt x="5" y="9"/>
                    </a:cubicBezTo>
                    <a:cubicBezTo>
                      <a:pt x="4" y="9"/>
                      <a:pt x="3" y="5"/>
                      <a:pt x="1" y="5"/>
                    </a:cubicBezTo>
                    <a:cubicBezTo>
                      <a:pt x="0" y="0"/>
                      <a:pt x="8" y="5"/>
                      <a:pt x="10" y="3"/>
                    </a:cubicBezTo>
                    <a:cubicBezTo>
                      <a:pt x="11" y="3"/>
                      <a:pt x="10" y="1"/>
                      <a:pt x="10" y="1"/>
                    </a:cubicBezTo>
                    <a:cubicBezTo>
                      <a:pt x="15" y="0"/>
                      <a:pt x="17" y="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74B57E28-AC1F-42DB-ADE1-8D96047DC6F3}"/>
                  </a:ext>
                </a:extLst>
              </p:cNvPr>
              <p:cNvSpPr/>
              <p:nvPr/>
            </p:nvSpPr>
            <p:spPr bwMode="auto">
              <a:xfrm>
                <a:off x="6604304" y="518544"/>
                <a:ext cx="42023" cy="14008"/>
              </a:xfrm>
              <a:custGeom>
                <a:avLst/>
                <a:gdLst>
                  <a:gd name="T0" fmla="*/ 18 w 20"/>
                  <a:gd name="T1" fmla="*/ 7 h 7"/>
                  <a:gd name="T2" fmla="*/ 3 w 20"/>
                  <a:gd name="T3" fmla="*/ 7 h 7"/>
                  <a:gd name="T4" fmla="*/ 8 w 20"/>
                  <a:gd name="T5" fmla="*/ 2 h 7"/>
                  <a:gd name="T6" fmla="*/ 18 w 20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7">
                    <a:moveTo>
                      <a:pt x="18" y="7"/>
                    </a:moveTo>
                    <a:cubicBezTo>
                      <a:pt x="13" y="7"/>
                      <a:pt x="8" y="7"/>
                      <a:pt x="3" y="7"/>
                    </a:cubicBezTo>
                    <a:cubicBezTo>
                      <a:pt x="0" y="1"/>
                      <a:pt x="9" y="6"/>
                      <a:pt x="8" y="2"/>
                    </a:cubicBezTo>
                    <a:cubicBezTo>
                      <a:pt x="10" y="5"/>
                      <a:pt x="20" y="0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51C433AA-0208-4584-AA0D-81BFF200F8F6}"/>
                  </a:ext>
                </a:extLst>
              </p:cNvPr>
              <p:cNvSpPr/>
              <p:nvPr/>
            </p:nvSpPr>
            <p:spPr bwMode="auto">
              <a:xfrm>
                <a:off x="6544071" y="536753"/>
                <a:ext cx="50428" cy="18211"/>
              </a:xfrm>
              <a:custGeom>
                <a:avLst/>
                <a:gdLst>
                  <a:gd name="T0" fmla="*/ 17 w 24"/>
                  <a:gd name="T1" fmla="*/ 0 h 9"/>
                  <a:gd name="T2" fmla="*/ 17 w 24"/>
                  <a:gd name="T3" fmla="*/ 7 h 9"/>
                  <a:gd name="T4" fmla="*/ 0 w 24"/>
                  <a:gd name="T5" fmla="*/ 6 h 9"/>
                  <a:gd name="T6" fmla="*/ 17 w 2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9">
                    <a:moveTo>
                      <a:pt x="17" y="0"/>
                    </a:moveTo>
                    <a:cubicBezTo>
                      <a:pt x="24" y="3"/>
                      <a:pt x="17" y="2"/>
                      <a:pt x="17" y="7"/>
                    </a:cubicBezTo>
                    <a:cubicBezTo>
                      <a:pt x="11" y="7"/>
                      <a:pt x="3" y="9"/>
                      <a:pt x="0" y="6"/>
                    </a:cubicBezTo>
                    <a:cubicBezTo>
                      <a:pt x="3" y="1"/>
                      <a:pt x="13" y="4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FD43B7B4-D851-4AD4-80D4-C5A09990A941}"/>
                  </a:ext>
                </a:extLst>
              </p:cNvPr>
              <p:cNvSpPr/>
              <p:nvPr/>
            </p:nvSpPr>
            <p:spPr bwMode="auto">
              <a:xfrm>
                <a:off x="4077293" y="552163"/>
                <a:ext cx="22413" cy="15409"/>
              </a:xfrm>
              <a:custGeom>
                <a:avLst/>
                <a:gdLst>
                  <a:gd name="T0" fmla="*/ 1 w 11"/>
                  <a:gd name="T1" fmla="*/ 0 h 8"/>
                  <a:gd name="T2" fmla="*/ 10 w 11"/>
                  <a:gd name="T3" fmla="*/ 8 h 8"/>
                  <a:gd name="T4" fmla="*/ 1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cubicBezTo>
                      <a:pt x="6" y="1"/>
                      <a:pt x="11" y="1"/>
                      <a:pt x="10" y="8"/>
                    </a:cubicBezTo>
                    <a:cubicBezTo>
                      <a:pt x="7" y="5"/>
                      <a:pt x="0" y="6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8F48702C-01C7-45F5-8F42-A1C064E7E1A4}"/>
                  </a:ext>
                </a:extLst>
              </p:cNvPr>
              <p:cNvSpPr/>
              <p:nvPr/>
            </p:nvSpPr>
            <p:spPr bwMode="auto">
              <a:xfrm>
                <a:off x="7143606" y="549361"/>
                <a:ext cx="89650" cy="46226"/>
              </a:xfrm>
              <a:custGeom>
                <a:avLst/>
                <a:gdLst>
                  <a:gd name="T0" fmla="*/ 38 w 43"/>
                  <a:gd name="T1" fmla="*/ 5 h 22"/>
                  <a:gd name="T2" fmla="*/ 42 w 43"/>
                  <a:gd name="T3" fmla="*/ 15 h 22"/>
                  <a:gd name="T4" fmla="*/ 23 w 43"/>
                  <a:gd name="T5" fmla="*/ 20 h 22"/>
                  <a:gd name="T6" fmla="*/ 20 w 43"/>
                  <a:gd name="T7" fmla="*/ 18 h 22"/>
                  <a:gd name="T8" fmla="*/ 12 w 43"/>
                  <a:gd name="T9" fmla="*/ 18 h 22"/>
                  <a:gd name="T10" fmla="*/ 12 w 43"/>
                  <a:gd name="T11" fmla="*/ 15 h 22"/>
                  <a:gd name="T12" fmla="*/ 7 w 43"/>
                  <a:gd name="T13" fmla="*/ 16 h 22"/>
                  <a:gd name="T14" fmla="*/ 9 w 43"/>
                  <a:gd name="T15" fmla="*/ 13 h 22"/>
                  <a:gd name="T16" fmla="*/ 1 w 43"/>
                  <a:gd name="T17" fmla="*/ 11 h 22"/>
                  <a:gd name="T18" fmla="*/ 5 w 43"/>
                  <a:gd name="T19" fmla="*/ 7 h 22"/>
                  <a:gd name="T20" fmla="*/ 10 w 43"/>
                  <a:gd name="T21" fmla="*/ 3 h 22"/>
                  <a:gd name="T22" fmla="*/ 27 w 43"/>
                  <a:gd name="T23" fmla="*/ 1 h 22"/>
                  <a:gd name="T24" fmla="*/ 27 w 43"/>
                  <a:gd name="T25" fmla="*/ 5 h 22"/>
                  <a:gd name="T26" fmla="*/ 38 w 43"/>
                  <a:gd name="T2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3" h="22">
                    <a:moveTo>
                      <a:pt x="38" y="5"/>
                    </a:moveTo>
                    <a:cubicBezTo>
                      <a:pt x="37" y="11"/>
                      <a:pt x="31" y="15"/>
                      <a:pt x="42" y="15"/>
                    </a:cubicBezTo>
                    <a:cubicBezTo>
                      <a:pt x="43" y="22"/>
                      <a:pt x="31" y="21"/>
                      <a:pt x="23" y="20"/>
                    </a:cubicBezTo>
                    <a:cubicBezTo>
                      <a:pt x="20" y="20"/>
                      <a:pt x="21" y="20"/>
                      <a:pt x="20" y="18"/>
                    </a:cubicBezTo>
                    <a:cubicBezTo>
                      <a:pt x="16" y="15"/>
                      <a:pt x="17" y="21"/>
                      <a:pt x="12" y="18"/>
                    </a:cubicBezTo>
                    <a:cubicBezTo>
                      <a:pt x="12" y="18"/>
                      <a:pt x="13" y="15"/>
                      <a:pt x="12" y="15"/>
                    </a:cubicBezTo>
                    <a:cubicBezTo>
                      <a:pt x="11" y="14"/>
                      <a:pt x="9" y="17"/>
                      <a:pt x="7" y="16"/>
                    </a:cubicBezTo>
                    <a:cubicBezTo>
                      <a:pt x="6" y="16"/>
                      <a:pt x="9" y="13"/>
                      <a:pt x="9" y="13"/>
                    </a:cubicBezTo>
                    <a:cubicBezTo>
                      <a:pt x="7" y="11"/>
                      <a:pt x="0" y="15"/>
                      <a:pt x="1" y="11"/>
                    </a:cubicBezTo>
                    <a:cubicBezTo>
                      <a:pt x="0" y="7"/>
                      <a:pt x="3" y="8"/>
                      <a:pt x="5" y="7"/>
                    </a:cubicBezTo>
                    <a:cubicBezTo>
                      <a:pt x="7" y="5"/>
                      <a:pt x="6" y="4"/>
                      <a:pt x="10" y="3"/>
                    </a:cubicBezTo>
                    <a:cubicBezTo>
                      <a:pt x="12" y="3"/>
                      <a:pt x="20" y="0"/>
                      <a:pt x="27" y="1"/>
                    </a:cubicBezTo>
                    <a:cubicBezTo>
                      <a:pt x="27" y="2"/>
                      <a:pt x="27" y="5"/>
                      <a:pt x="27" y="5"/>
                    </a:cubicBezTo>
                    <a:cubicBezTo>
                      <a:pt x="30" y="7"/>
                      <a:pt x="37" y="3"/>
                      <a:pt x="38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17150AD9-EC8C-4863-9C32-F8BB5C236E16}"/>
                  </a:ext>
                </a:extLst>
              </p:cNvPr>
              <p:cNvSpPr/>
              <p:nvPr/>
            </p:nvSpPr>
            <p:spPr bwMode="auto">
              <a:xfrm>
                <a:off x="7105785" y="552163"/>
                <a:ext cx="35020" cy="22413"/>
              </a:xfrm>
              <a:custGeom>
                <a:avLst/>
                <a:gdLst>
                  <a:gd name="T0" fmla="*/ 17 w 17"/>
                  <a:gd name="T1" fmla="*/ 6 h 11"/>
                  <a:gd name="T2" fmla="*/ 12 w 17"/>
                  <a:gd name="T3" fmla="*/ 6 h 11"/>
                  <a:gd name="T4" fmla="*/ 10 w 17"/>
                  <a:gd name="T5" fmla="*/ 10 h 11"/>
                  <a:gd name="T6" fmla="*/ 0 w 17"/>
                  <a:gd name="T7" fmla="*/ 6 h 11"/>
                  <a:gd name="T8" fmla="*/ 17 w 17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6"/>
                    </a:moveTo>
                    <a:cubicBezTo>
                      <a:pt x="16" y="9"/>
                      <a:pt x="14" y="6"/>
                      <a:pt x="12" y="6"/>
                    </a:cubicBezTo>
                    <a:cubicBezTo>
                      <a:pt x="10" y="6"/>
                      <a:pt x="10" y="8"/>
                      <a:pt x="10" y="10"/>
                    </a:cubicBezTo>
                    <a:cubicBezTo>
                      <a:pt x="4" y="11"/>
                      <a:pt x="6" y="5"/>
                      <a:pt x="0" y="6"/>
                    </a:cubicBezTo>
                    <a:cubicBezTo>
                      <a:pt x="4" y="0"/>
                      <a:pt x="12" y="4"/>
                      <a:pt x="17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4F57599-D8EE-4948-9B8B-A16BD4BE477D}"/>
                  </a:ext>
                </a:extLst>
              </p:cNvPr>
              <p:cNvSpPr/>
              <p:nvPr/>
            </p:nvSpPr>
            <p:spPr bwMode="auto">
              <a:xfrm>
                <a:off x="3997449" y="578777"/>
                <a:ext cx="91051" cy="49028"/>
              </a:xfrm>
              <a:custGeom>
                <a:avLst/>
                <a:gdLst>
                  <a:gd name="T0" fmla="*/ 31 w 44"/>
                  <a:gd name="T1" fmla="*/ 6 h 24"/>
                  <a:gd name="T2" fmla="*/ 37 w 44"/>
                  <a:gd name="T3" fmla="*/ 14 h 24"/>
                  <a:gd name="T4" fmla="*/ 42 w 44"/>
                  <a:gd name="T5" fmla="*/ 23 h 24"/>
                  <a:gd name="T6" fmla="*/ 37 w 44"/>
                  <a:gd name="T7" fmla="*/ 23 h 24"/>
                  <a:gd name="T8" fmla="*/ 37 w 44"/>
                  <a:gd name="T9" fmla="*/ 19 h 24"/>
                  <a:gd name="T10" fmla="*/ 33 w 44"/>
                  <a:gd name="T11" fmla="*/ 17 h 24"/>
                  <a:gd name="T12" fmla="*/ 9 w 44"/>
                  <a:gd name="T13" fmla="*/ 15 h 24"/>
                  <a:gd name="T14" fmla="*/ 15 w 44"/>
                  <a:gd name="T15" fmla="*/ 12 h 24"/>
                  <a:gd name="T16" fmla="*/ 11 w 44"/>
                  <a:gd name="T17" fmla="*/ 8 h 24"/>
                  <a:gd name="T18" fmla="*/ 0 w 44"/>
                  <a:gd name="T19" fmla="*/ 2 h 24"/>
                  <a:gd name="T20" fmla="*/ 15 w 44"/>
                  <a:gd name="T21" fmla="*/ 2 h 24"/>
                  <a:gd name="T22" fmla="*/ 18 w 44"/>
                  <a:gd name="T23" fmla="*/ 6 h 24"/>
                  <a:gd name="T24" fmla="*/ 26 w 44"/>
                  <a:gd name="T25" fmla="*/ 6 h 24"/>
                  <a:gd name="T26" fmla="*/ 31 w 44"/>
                  <a:gd name="T27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24">
                    <a:moveTo>
                      <a:pt x="31" y="6"/>
                    </a:moveTo>
                    <a:cubicBezTo>
                      <a:pt x="34" y="8"/>
                      <a:pt x="35" y="11"/>
                      <a:pt x="37" y="14"/>
                    </a:cubicBezTo>
                    <a:cubicBezTo>
                      <a:pt x="39" y="16"/>
                      <a:pt x="44" y="18"/>
                      <a:pt x="42" y="23"/>
                    </a:cubicBezTo>
                    <a:cubicBezTo>
                      <a:pt x="41" y="22"/>
                      <a:pt x="38" y="24"/>
                      <a:pt x="37" y="23"/>
                    </a:cubicBezTo>
                    <a:cubicBezTo>
                      <a:pt x="36" y="22"/>
                      <a:pt x="37" y="20"/>
                      <a:pt x="37" y="19"/>
                    </a:cubicBezTo>
                    <a:cubicBezTo>
                      <a:pt x="36" y="19"/>
                      <a:pt x="32" y="23"/>
                      <a:pt x="33" y="17"/>
                    </a:cubicBezTo>
                    <a:cubicBezTo>
                      <a:pt x="22" y="17"/>
                      <a:pt x="15" y="17"/>
                      <a:pt x="9" y="15"/>
                    </a:cubicBezTo>
                    <a:cubicBezTo>
                      <a:pt x="8" y="11"/>
                      <a:pt x="12" y="12"/>
                      <a:pt x="15" y="12"/>
                    </a:cubicBezTo>
                    <a:cubicBezTo>
                      <a:pt x="14" y="10"/>
                      <a:pt x="11" y="10"/>
                      <a:pt x="11" y="8"/>
                    </a:cubicBezTo>
                    <a:cubicBezTo>
                      <a:pt x="4" y="6"/>
                      <a:pt x="1" y="11"/>
                      <a:pt x="0" y="2"/>
                    </a:cubicBezTo>
                    <a:cubicBezTo>
                      <a:pt x="4" y="0"/>
                      <a:pt x="10" y="1"/>
                      <a:pt x="15" y="2"/>
                    </a:cubicBezTo>
                    <a:cubicBezTo>
                      <a:pt x="17" y="3"/>
                      <a:pt x="18" y="3"/>
                      <a:pt x="18" y="6"/>
                    </a:cubicBezTo>
                    <a:cubicBezTo>
                      <a:pt x="20" y="8"/>
                      <a:pt x="26" y="0"/>
                      <a:pt x="26" y="6"/>
                    </a:cubicBezTo>
                    <a:cubicBezTo>
                      <a:pt x="26" y="8"/>
                      <a:pt x="32" y="9"/>
                      <a:pt x="3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4FD13F0-5A3E-4CE9-AB9F-54DAB1878E36}"/>
                  </a:ext>
                </a:extLst>
              </p:cNvPr>
              <p:cNvSpPr/>
              <p:nvPr/>
            </p:nvSpPr>
            <p:spPr bwMode="auto">
              <a:xfrm>
                <a:off x="7237457" y="578777"/>
                <a:ext cx="88250" cy="44825"/>
              </a:xfrm>
              <a:custGeom>
                <a:avLst/>
                <a:gdLst>
                  <a:gd name="T0" fmla="*/ 18 w 43"/>
                  <a:gd name="T1" fmla="*/ 1 h 22"/>
                  <a:gd name="T2" fmla="*/ 25 w 43"/>
                  <a:gd name="T3" fmla="*/ 6 h 22"/>
                  <a:gd name="T4" fmla="*/ 27 w 43"/>
                  <a:gd name="T5" fmla="*/ 2 h 22"/>
                  <a:gd name="T6" fmla="*/ 31 w 43"/>
                  <a:gd name="T7" fmla="*/ 6 h 22"/>
                  <a:gd name="T8" fmla="*/ 34 w 43"/>
                  <a:gd name="T9" fmla="*/ 6 h 22"/>
                  <a:gd name="T10" fmla="*/ 34 w 43"/>
                  <a:gd name="T11" fmla="*/ 8 h 22"/>
                  <a:gd name="T12" fmla="*/ 42 w 43"/>
                  <a:gd name="T13" fmla="*/ 10 h 22"/>
                  <a:gd name="T14" fmla="*/ 29 w 43"/>
                  <a:gd name="T15" fmla="*/ 14 h 22"/>
                  <a:gd name="T16" fmla="*/ 27 w 43"/>
                  <a:gd name="T17" fmla="*/ 17 h 22"/>
                  <a:gd name="T18" fmla="*/ 10 w 43"/>
                  <a:gd name="T19" fmla="*/ 17 h 22"/>
                  <a:gd name="T20" fmla="*/ 8 w 43"/>
                  <a:gd name="T21" fmla="*/ 21 h 22"/>
                  <a:gd name="T22" fmla="*/ 1 w 43"/>
                  <a:gd name="T23" fmla="*/ 19 h 22"/>
                  <a:gd name="T24" fmla="*/ 1 w 43"/>
                  <a:gd name="T25" fmla="*/ 14 h 22"/>
                  <a:gd name="T26" fmla="*/ 5 w 43"/>
                  <a:gd name="T27" fmla="*/ 14 h 22"/>
                  <a:gd name="T28" fmla="*/ 6 w 43"/>
                  <a:gd name="T29" fmla="*/ 8 h 22"/>
                  <a:gd name="T30" fmla="*/ 10 w 43"/>
                  <a:gd name="T31" fmla="*/ 8 h 22"/>
                  <a:gd name="T32" fmla="*/ 18 w 43"/>
                  <a:gd name="T33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22">
                    <a:moveTo>
                      <a:pt x="18" y="1"/>
                    </a:moveTo>
                    <a:cubicBezTo>
                      <a:pt x="19" y="4"/>
                      <a:pt x="27" y="0"/>
                      <a:pt x="25" y="6"/>
                    </a:cubicBezTo>
                    <a:cubicBezTo>
                      <a:pt x="27" y="7"/>
                      <a:pt x="27" y="2"/>
                      <a:pt x="27" y="2"/>
                    </a:cubicBezTo>
                    <a:cubicBezTo>
                      <a:pt x="29" y="2"/>
                      <a:pt x="29" y="5"/>
                      <a:pt x="31" y="6"/>
                    </a:cubicBezTo>
                    <a:cubicBezTo>
                      <a:pt x="31" y="7"/>
                      <a:pt x="34" y="5"/>
                      <a:pt x="34" y="6"/>
                    </a:cubicBezTo>
                    <a:cubicBezTo>
                      <a:pt x="35" y="6"/>
                      <a:pt x="34" y="8"/>
                      <a:pt x="34" y="8"/>
                    </a:cubicBezTo>
                    <a:cubicBezTo>
                      <a:pt x="37" y="9"/>
                      <a:pt x="42" y="6"/>
                      <a:pt x="42" y="10"/>
                    </a:cubicBezTo>
                    <a:cubicBezTo>
                      <a:pt x="43" y="17"/>
                      <a:pt x="33" y="12"/>
                      <a:pt x="29" y="14"/>
                    </a:cubicBezTo>
                    <a:cubicBezTo>
                      <a:pt x="27" y="13"/>
                      <a:pt x="28" y="17"/>
                      <a:pt x="27" y="17"/>
                    </a:cubicBezTo>
                    <a:cubicBezTo>
                      <a:pt x="23" y="19"/>
                      <a:pt x="12" y="18"/>
                      <a:pt x="10" y="17"/>
                    </a:cubicBezTo>
                    <a:cubicBezTo>
                      <a:pt x="8" y="17"/>
                      <a:pt x="9" y="20"/>
                      <a:pt x="8" y="21"/>
                    </a:cubicBezTo>
                    <a:cubicBezTo>
                      <a:pt x="4" y="18"/>
                      <a:pt x="5" y="22"/>
                      <a:pt x="1" y="19"/>
                    </a:cubicBezTo>
                    <a:cubicBezTo>
                      <a:pt x="2" y="18"/>
                      <a:pt x="0" y="14"/>
                      <a:pt x="1" y="14"/>
                    </a:cubicBezTo>
                    <a:cubicBezTo>
                      <a:pt x="1" y="13"/>
                      <a:pt x="4" y="14"/>
                      <a:pt x="5" y="14"/>
                    </a:cubicBezTo>
                    <a:cubicBezTo>
                      <a:pt x="6" y="12"/>
                      <a:pt x="5" y="9"/>
                      <a:pt x="6" y="8"/>
                    </a:cubicBezTo>
                    <a:cubicBezTo>
                      <a:pt x="7" y="7"/>
                      <a:pt x="10" y="9"/>
                      <a:pt x="10" y="8"/>
                    </a:cubicBezTo>
                    <a:cubicBezTo>
                      <a:pt x="12" y="5"/>
                      <a:pt x="15" y="4"/>
                      <a:pt x="1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53942031-20A9-4C7F-9377-7F7F5EF4BD02}"/>
                  </a:ext>
                </a:extLst>
              </p:cNvPr>
              <p:cNvSpPr/>
              <p:nvPr/>
            </p:nvSpPr>
            <p:spPr bwMode="auto">
              <a:xfrm>
                <a:off x="3837760" y="612396"/>
                <a:ext cx="16809" cy="26615"/>
              </a:xfrm>
              <a:custGeom>
                <a:avLst/>
                <a:gdLst>
                  <a:gd name="T0" fmla="*/ 8 w 8"/>
                  <a:gd name="T1" fmla="*/ 7 h 13"/>
                  <a:gd name="T2" fmla="*/ 8 w 8"/>
                  <a:gd name="T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13">
                    <a:moveTo>
                      <a:pt x="8" y="7"/>
                    </a:moveTo>
                    <a:cubicBezTo>
                      <a:pt x="3" y="13"/>
                      <a:pt x="0" y="0"/>
                      <a:pt x="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C8406E69-2C8E-48E7-AAB0-7A4BD1F718E3}"/>
                  </a:ext>
                </a:extLst>
              </p:cNvPr>
              <p:cNvSpPr/>
              <p:nvPr/>
            </p:nvSpPr>
            <p:spPr bwMode="auto">
              <a:xfrm>
                <a:off x="3872779" y="617999"/>
                <a:ext cx="50428" cy="29417"/>
              </a:xfrm>
              <a:custGeom>
                <a:avLst/>
                <a:gdLst>
                  <a:gd name="T0" fmla="*/ 22 w 24"/>
                  <a:gd name="T1" fmla="*/ 4 h 14"/>
                  <a:gd name="T2" fmla="*/ 6 w 24"/>
                  <a:gd name="T3" fmla="*/ 13 h 14"/>
                  <a:gd name="T4" fmla="*/ 0 w 24"/>
                  <a:gd name="T5" fmla="*/ 8 h 14"/>
                  <a:gd name="T6" fmla="*/ 11 w 24"/>
                  <a:gd name="T7" fmla="*/ 4 h 14"/>
                  <a:gd name="T8" fmla="*/ 22 w 24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22" y="4"/>
                    </a:moveTo>
                    <a:cubicBezTo>
                      <a:pt x="24" y="14"/>
                      <a:pt x="10" y="9"/>
                      <a:pt x="6" y="13"/>
                    </a:cubicBezTo>
                    <a:cubicBezTo>
                      <a:pt x="2" y="13"/>
                      <a:pt x="4" y="7"/>
                      <a:pt x="0" y="8"/>
                    </a:cubicBezTo>
                    <a:cubicBezTo>
                      <a:pt x="1" y="2"/>
                      <a:pt x="11" y="9"/>
                      <a:pt x="11" y="4"/>
                    </a:cubicBezTo>
                    <a:cubicBezTo>
                      <a:pt x="11" y="0"/>
                      <a:pt x="16" y="6"/>
                      <a:pt x="22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8BCAA986-3CA1-490D-B096-3E9F8FA97212}"/>
                  </a:ext>
                </a:extLst>
              </p:cNvPr>
              <p:cNvSpPr/>
              <p:nvPr/>
            </p:nvSpPr>
            <p:spPr bwMode="auto">
              <a:xfrm>
                <a:off x="4148733" y="622202"/>
                <a:ext cx="44825" cy="22413"/>
              </a:xfrm>
              <a:custGeom>
                <a:avLst/>
                <a:gdLst>
                  <a:gd name="T0" fmla="*/ 18 w 21"/>
                  <a:gd name="T1" fmla="*/ 4 h 11"/>
                  <a:gd name="T2" fmla="*/ 18 w 21"/>
                  <a:gd name="T3" fmla="*/ 7 h 11"/>
                  <a:gd name="T4" fmla="*/ 12 w 21"/>
                  <a:gd name="T5" fmla="*/ 9 h 11"/>
                  <a:gd name="T6" fmla="*/ 10 w 21"/>
                  <a:gd name="T7" fmla="*/ 11 h 11"/>
                  <a:gd name="T8" fmla="*/ 5 w 21"/>
                  <a:gd name="T9" fmla="*/ 9 h 11"/>
                  <a:gd name="T10" fmla="*/ 3 w 21"/>
                  <a:gd name="T11" fmla="*/ 11 h 11"/>
                  <a:gd name="T12" fmla="*/ 1 w 21"/>
                  <a:gd name="T13" fmla="*/ 9 h 11"/>
                  <a:gd name="T14" fmla="*/ 18 w 21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18" y="4"/>
                    </a:moveTo>
                    <a:cubicBezTo>
                      <a:pt x="21" y="5"/>
                      <a:pt x="19" y="7"/>
                      <a:pt x="18" y="7"/>
                    </a:cubicBezTo>
                    <a:cubicBezTo>
                      <a:pt x="16" y="9"/>
                      <a:pt x="15" y="9"/>
                      <a:pt x="12" y="9"/>
                    </a:cubicBezTo>
                    <a:cubicBezTo>
                      <a:pt x="11" y="10"/>
                      <a:pt x="10" y="11"/>
                      <a:pt x="10" y="11"/>
                    </a:cubicBezTo>
                    <a:cubicBezTo>
                      <a:pt x="9" y="11"/>
                      <a:pt x="7" y="9"/>
                      <a:pt x="5" y="9"/>
                    </a:cubicBezTo>
                    <a:cubicBezTo>
                      <a:pt x="5" y="9"/>
                      <a:pt x="4" y="11"/>
                      <a:pt x="3" y="11"/>
                    </a:cubicBezTo>
                    <a:cubicBezTo>
                      <a:pt x="1" y="11"/>
                      <a:pt x="1" y="11"/>
                      <a:pt x="1" y="9"/>
                    </a:cubicBezTo>
                    <a:cubicBezTo>
                      <a:pt x="0" y="0"/>
                      <a:pt x="17" y="1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C5C33649-1ACF-4EB2-AEA0-7555F689E444}"/>
                  </a:ext>
                </a:extLst>
              </p:cNvPr>
              <p:cNvSpPr/>
              <p:nvPr/>
            </p:nvSpPr>
            <p:spPr bwMode="auto">
              <a:xfrm>
                <a:off x="3984841" y="634808"/>
                <a:ext cx="25214" cy="9806"/>
              </a:xfrm>
              <a:custGeom>
                <a:avLst/>
                <a:gdLst>
                  <a:gd name="T0" fmla="*/ 0 w 12"/>
                  <a:gd name="T1" fmla="*/ 3 h 5"/>
                  <a:gd name="T2" fmla="*/ 9 w 12"/>
                  <a:gd name="T3" fmla="*/ 5 h 5"/>
                  <a:gd name="T4" fmla="*/ 0 w 12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5">
                    <a:moveTo>
                      <a:pt x="0" y="3"/>
                    </a:moveTo>
                    <a:cubicBezTo>
                      <a:pt x="0" y="0"/>
                      <a:pt x="12" y="0"/>
                      <a:pt x="9" y="5"/>
                    </a:cubicBezTo>
                    <a:cubicBezTo>
                      <a:pt x="5" y="3"/>
                      <a:pt x="6" y="5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B365B27-5A74-4D1F-BA63-A6AC600A1532}"/>
                  </a:ext>
                </a:extLst>
              </p:cNvPr>
              <p:cNvSpPr/>
              <p:nvPr/>
            </p:nvSpPr>
            <p:spPr bwMode="auto">
              <a:xfrm>
                <a:off x="4228577" y="636209"/>
                <a:ext cx="12607" cy="12607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  <a:gd name="T4" fmla="*/ 0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4" y="0"/>
                      <a:pt x="6" y="2"/>
                      <a:pt x="6" y="6"/>
                    </a:cubicBezTo>
                    <a:cubicBezTo>
                      <a:pt x="4" y="6"/>
                      <a:pt x="2" y="6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C9BDC73E-750E-4FF2-ADFF-B61A47BA2EFF}"/>
                  </a:ext>
                </a:extLst>
              </p:cNvPr>
              <p:cNvSpPr/>
              <p:nvPr/>
            </p:nvSpPr>
            <p:spPr bwMode="auto">
              <a:xfrm>
                <a:off x="4124920" y="657221"/>
                <a:ext cx="274553" cy="84047"/>
              </a:xfrm>
              <a:custGeom>
                <a:avLst/>
                <a:gdLst>
                  <a:gd name="T0" fmla="*/ 132 w 132"/>
                  <a:gd name="T1" fmla="*/ 22 h 40"/>
                  <a:gd name="T2" fmla="*/ 132 w 132"/>
                  <a:gd name="T3" fmla="*/ 31 h 40"/>
                  <a:gd name="T4" fmla="*/ 127 w 132"/>
                  <a:gd name="T5" fmla="*/ 35 h 40"/>
                  <a:gd name="T6" fmla="*/ 104 w 132"/>
                  <a:gd name="T7" fmla="*/ 35 h 40"/>
                  <a:gd name="T8" fmla="*/ 97 w 132"/>
                  <a:gd name="T9" fmla="*/ 39 h 40"/>
                  <a:gd name="T10" fmla="*/ 91 w 132"/>
                  <a:gd name="T11" fmla="*/ 37 h 40"/>
                  <a:gd name="T12" fmla="*/ 90 w 132"/>
                  <a:gd name="T13" fmla="*/ 39 h 40"/>
                  <a:gd name="T14" fmla="*/ 82 w 132"/>
                  <a:gd name="T15" fmla="*/ 39 h 40"/>
                  <a:gd name="T16" fmla="*/ 82 w 132"/>
                  <a:gd name="T17" fmla="*/ 37 h 40"/>
                  <a:gd name="T18" fmla="*/ 78 w 132"/>
                  <a:gd name="T19" fmla="*/ 39 h 40"/>
                  <a:gd name="T20" fmla="*/ 71 w 132"/>
                  <a:gd name="T21" fmla="*/ 35 h 40"/>
                  <a:gd name="T22" fmla="*/ 43 w 132"/>
                  <a:gd name="T23" fmla="*/ 35 h 40"/>
                  <a:gd name="T24" fmla="*/ 45 w 132"/>
                  <a:gd name="T25" fmla="*/ 31 h 40"/>
                  <a:gd name="T26" fmla="*/ 41 w 132"/>
                  <a:gd name="T27" fmla="*/ 30 h 40"/>
                  <a:gd name="T28" fmla="*/ 37 w 132"/>
                  <a:gd name="T29" fmla="*/ 22 h 40"/>
                  <a:gd name="T30" fmla="*/ 41 w 132"/>
                  <a:gd name="T31" fmla="*/ 18 h 40"/>
                  <a:gd name="T32" fmla="*/ 37 w 132"/>
                  <a:gd name="T33" fmla="*/ 11 h 40"/>
                  <a:gd name="T34" fmla="*/ 21 w 132"/>
                  <a:gd name="T35" fmla="*/ 13 h 40"/>
                  <a:gd name="T36" fmla="*/ 17 w 132"/>
                  <a:gd name="T37" fmla="*/ 9 h 40"/>
                  <a:gd name="T38" fmla="*/ 13 w 132"/>
                  <a:gd name="T39" fmla="*/ 7 h 40"/>
                  <a:gd name="T40" fmla="*/ 6 w 132"/>
                  <a:gd name="T41" fmla="*/ 9 h 40"/>
                  <a:gd name="T42" fmla="*/ 2 w 132"/>
                  <a:gd name="T43" fmla="*/ 2 h 40"/>
                  <a:gd name="T44" fmla="*/ 22 w 132"/>
                  <a:gd name="T45" fmla="*/ 0 h 40"/>
                  <a:gd name="T46" fmla="*/ 26 w 132"/>
                  <a:gd name="T47" fmla="*/ 2 h 40"/>
                  <a:gd name="T48" fmla="*/ 26 w 132"/>
                  <a:gd name="T49" fmla="*/ 5 h 40"/>
                  <a:gd name="T50" fmla="*/ 32 w 132"/>
                  <a:gd name="T51" fmla="*/ 9 h 40"/>
                  <a:gd name="T52" fmla="*/ 49 w 132"/>
                  <a:gd name="T53" fmla="*/ 9 h 40"/>
                  <a:gd name="T54" fmla="*/ 49 w 132"/>
                  <a:gd name="T55" fmla="*/ 18 h 40"/>
                  <a:gd name="T56" fmla="*/ 62 w 132"/>
                  <a:gd name="T57" fmla="*/ 20 h 40"/>
                  <a:gd name="T58" fmla="*/ 62 w 132"/>
                  <a:gd name="T59" fmla="*/ 24 h 40"/>
                  <a:gd name="T60" fmla="*/ 65 w 132"/>
                  <a:gd name="T61" fmla="*/ 22 h 40"/>
                  <a:gd name="T62" fmla="*/ 88 w 132"/>
                  <a:gd name="T63" fmla="*/ 22 h 40"/>
                  <a:gd name="T64" fmla="*/ 91 w 132"/>
                  <a:gd name="T65" fmla="*/ 24 h 40"/>
                  <a:gd name="T66" fmla="*/ 97 w 132"/>
                  <a:gd name="T67" fmla="*/ 20 h 40"/>
                  <a:gd name="T68" fmla="*/ 103 w 132"/>
                  <a:gd name="T69" fmla="*/ 20 h 40"/>
                  <a:gd name="T70" fmla="*/ 132 w 132"/>
                  <a:gd name="T71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2" h="40">
                    <a:moveTo>
                      <a:pt x="132" y="22"/>
                    </a:moveTo>
                    <a:cubicBezTo>
                      <a:pt x="132" y="25"/>
                      <a:pt x="132" y="28"/>
                      <a:pt x="132" y="31"/>
                    </a:cubicBezTo>
                    <a:cubicBezTo>
                      <a:pt x="129" y="31"/>
                      <a:pt x="128" y="33"/>
                      <a:pt x="127" y="35"/>
                    </a:cubicBezTo>
                    <a:cubicBezTo>
                      <a:pt x="118" y="36"/>
                      <a:pt x="111" y="35"/>
                      <a:pt x="104" y="35"/>
                    </a:cubicBezTo>
                    <a:cubicBezTo>
                      <a:pt x="102" y="35"/>
                      <a:pt x="99" y="38"/>
                      <a:pt x="97" y="39"/>
                    </a:cubicBezTo>
                    <a:cubicBezTo>
                      <a:pt x="94" y="40"/>
                      <a:pt x="94" y="37"/>
                      <a:pt x="91" y="37"/>
                    </a:cubicBezTo>
                    <a:cubicBezTo>
                      <a:pt x="92" y="37"/>
                      <a:pt x="90" y="39"/>
                      <a:pt x="90" y="39"/>
                    </a:cubicBezTo>
                    <a:cubicBezTo>
                      <a:pt x="89" y="39"/>
                      <a:pt x="82" y="39"/>
                      <a:pt x="82" y="39"/>
                    </a:cubicBezTo>
                    <a:cubicBezTo>
                      <a:pt x="82" y="39"/>
                      <a:pt x="82" y="37"/>
                      <a:pt x="82" y="37"/>
                    </a:cubicBezTo>
                    <a:cubicBezTo>
                      <a:pt x="80" y="37"/>
                      <a:pt x="78" y="39"/>
                      <a:pt x="78" y="39"/>
                    </a:cubicBezTo>
                    <a:cubicBezTo>
                      <a:pt x="74" y="38"/>
                      <a:pt x="74" y="35"/>
                      <a:pt x="71" y="35"/>
                    </a:cubicBezTo>
                    <a:cubicBezTo>
                      <a:pt x="63" y="35"/>
                      <a:pt x="54" y="40"/>
                      <a:pt x="43" y="35"/>
                    </a:cubicBezTo>
                    <a:cubicBezTo>
                      <a:pt x="43" y="34"/>
                      <a:pt x="45" y="33"/>
                      <a:pt x="45" y="31"/>
                    </a:cubicBezTo>
                    <a:cubicBezTo>
                      <a:pt x="44" y="29"/>
                      <a:pt x="42" y="31"/>
                      <a:pt x="41" y="30"/>
                    </a:cubicBezTo>
                    <a:cubicBezTo>
                      <a:pt x="39" y="27"/>
                      <a:pt x="41" y="23"/>
                      <a:pt x="37" y="22"/>
                    </a:cubicBezTo>
                    <a:cubicBezTo>
                      <a:pt x="38" y="20"/>
                      <a:pt x="41" y="21"/>
                      <a:pt x="41" y="18"/>
                    </a:cubicBezTo>
                    <a:cubicBezTo>
                      <a:pt x="41" y="15"/>
                      <a:pt x="36" y="16"/>
                      <a:pt x="37" y="11"/>
                    </a:cubicBezTo>
                    <a:cubicBezTo>
                      <a:pt x="34" y="14"/>
                      <a:pt x="26" y="12"/>
                      <a:pt x="21" y="13"/>
                    </a:cubicBezTo>
                    <a:cubicBezTo>
                      <a:pt x="17" y="14"/>
                      <a:pt x="18" y="10"/>
                      <a:pt x="17" y="9"/>
                    </a:cubicBezTo>
                    <a:cubicBezTo>
                      <a:pt x="16" y="8"/>
                      <a:pt x="13" y="10"/>
                      <a:pt x="13" y="7"/>
                    </a:cubicBezTo>
                    <a:cubicBezTo>
                      <a:pt x="11" y="9"/>
                      <a:pt x="9" y="9"/>
                      <a:pt x="6" y="9"/>
                    </a:cubicBezTo>
                    <a:cubicBezTo>
                      <a:pt x="12" y="3"/>
                      <a:pt x="0" y="8"/>
                      <a:pt x="2" y="2"/>
                    </a:cubicBezTo>
                    <a:cubicBezTo>
                      <a:pt x="10" y="3"/>
                      <a:pt x="16" y="1"/>
                      <a:pt x="22" y="0"/>
                    </a:cubicBezTo>
                    <a:cubicBezTo>
                      <a:pt x="22" y="2"/>
                      <a:pt x="26" y="1"/>
                      <a:pt x="26" y="2"/>
                    </a:cubicBezTo>
                    <a:cubicBezTo>
                      <a:pt x="27" y="2"/>
                      <a:pt x="26" y="5"/>
                      <a:pt x="26" y="5"/>
                    </a:cubicBezTo>
                    <a:cubicBezTo>
                      <a:pt x="28" y="7"/>
                      <a:pt x="33" y="4"/>
                      <a:pt x="32" y="9"/>
                    </a:cubicBezTo>
                    <a:cubicBezTo>
                      <a:pt x="37" y="4"/>
                      <a:pt x="42" y="10"/>
                      <a:pt x="49" y="9"/>
                    </a:cubicBezTo>
                    <a:cubicBezTo>
                      <a:pt x="47" y="15"/>
                      <a:pt x="52" y="15"/>
                      <a:pt x="49" y="18"/>
                    </a:cubicBezTo>
                    <a:cubicBezTo>
                      <a:pt x="52" y="19"/>
                      <a:pt x="57" y="18"/>
                      <a:pt x="62" y="20"/>
                    </a:cubicBezTo>
                    <a:cubicBezTo>
                      <a:pt x="63" y="21"/>
                      <a:pt x="53" y="25"/>
                      <a:pt x="62" y="24"/>
                    </a:cubicBezTo>
                    <a:cubicBezTo>
                      <a:pt x="63" y="24"/>
                      <a:pt x="63" y="22"/>
                      <a:pt x="65" y="22"/>
                    </a:cubicBezTo>
                    <a:cubicBezTo>
                      <a:pt x="71" y="22"/>
                      <a:pt x="80" y="21"/>
                      <a:pt x="88" y="22"/>
                    </a:cubicBezTo>
                    <a:cubicBezTo>
                      <a:pt x="89" y="22"/>
                      <a:pt x="92" y="24"/>
                      <a:pt x="91" y="24"/>
                    </a:cubicBezTo>
                    <a:cubicBezTo>
                      <a:pt x="96" y="24"/>
                      <a:pt x="88" y="21"/>
                      <a:pt x="97" y="20"/>
                    </a:cubicBezTo>
                    <a:cubicBezTo>
                      <a:pt x="99" y="20"/>
                      <a:pt x="101" y="21"/>
                      <a:pt x="103" y="20"/>
                    </a:cubicBezTo>
                    <a:cubicBezTo>
                      <a:pt x="110" y="19"/>
                      <a:pt x="122" y="19"/>
                      <a:pt x="132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2C53660-A4FB-44D5-9DA9-CCBE0ABDFA80}"/>
                  </a:ext>
                </a:extLst>
              </p:cNvPr>
              <p:cNvSpPr/>
              <p:nvPr/>
            </p:nvSpPr>
            <p:spPr bwMode="auto">
              <a:xfrm>
                <a:off x="6475433" y="655820"/>
                <a:ext cx="278756" cy="198911"/>
              </a:xfrm>
              <a:custGeom>
                <a:avLst/>
                <a:gdLst>
                  <a:gd name="T0" fmla="*/ 110 w 134"/>
                  <a:gd name="T1" fmla="*/ 3 h 96"/>
                  <a:gd name="T2" fmla="*/ 132 w 134"/>
                  <a:gd name="T3" fmla="*/ 1 h 96"/>
                  <a:gd name="T4" fmla="*/ 130 w 134"/>
                  <a:gd name="T5" fmla="*/ 10 h 96"/>
                  <a:gd name="T6" fmla="*/ 106 w 134"/>
                  <a:gd name="T7" fmla="*/ 14 h 96"/>
                  <a:gd name="T8" fmla="*/ 102 w 134"/>
                  <a:gd name="T9" fmla="*/ 18 h 96"/>
                  <a:gd name="T10" fmla="*/ 98 w 134"/>
                  <a:gd name="T11" fmla="*/ 18 h 96"/>
                  <a:gd name="T12" fmla="*/ 95 w 134"/>
                  <a:gd name="T13" fmla="*/ 21 h 96"/>
                  <a:gd name="T14" fmla="*/ 91 w 134"/>
                  <a:gd name="T15" fmla="*/ 19 h 96"/>
                  <a:gd name="T16" fmla="*/ 83 w 134"/>
                  <a:gd name="T17" fmla="*/ 21 h 96"/>
                  <a:gd name="T18" fmla="*/ 76 w 134"/>
                  <a:gd name="T19" fmla="*/ 23 h 96"/>
                  <a:gd name="T20" fmla="*/ 74 w 134"/>
                  <a:gd name="T21" fmla="*/ 27 h 96"/>
                  <a:gd name="T22" fmla="*/ 65 w 134"/>
                  <a:gd name="T23" fmla="*/ 32 h 96"/>
                  <a:gd name="T24" fmla="*/ 59 w 134"/>
                  <a:gd name="T25" fmla="*/ 36 h 96"/>
                  <a:gd name="T26" fmla="*/ 56 w 134"/>
                  <a:gd name="T27" fmla="*/ 40 h 96"/>
                  <a:gd name="T28" fmla="*/ 54 w 134"/>
                  <a:gd name="T29" fmla="*/ 44 h 96"/>
                  <a:gd name="T30" fmla="*/ 44 w 134"/>
                  <a:gd name="T31" fmla="*/ 47 h 96"/>
                  <a:gd name="T32" fmla="*/ 43 w 134"/>
                  <a:gd name="T33" fmla="*/ 49 h 96"/>
                  <a:gd name="T34" fmla="*/ 35 w 134"/>
                  <a:gd name="T35" fmla="*/ 53 h 96"/>
                  <a:gd name="T36" fmla="*/ 31 w 134"/>
                  <a:gd name="T37" fmla="*/ 60 h 96"/>
                  <a:gd name="T38" fmla="*/ 33 w 134"/>
                  <a:gd name="T39" fmla="*/ 72 h 96"/>
                  <a:gd name="T40" fmla="*/ 28 w 134"/>
                  <a:gd name="T41" fmla="*/ 75 h 96"/>
                  <a:gd name="T42" fmla="*/ 31 w 134"/>
                  <a:gd name="T43" fmla="*/ 83 h 96"/>
                  <a:gd name="T44" fmla="*/ 29 w 134"/>
                  <a:gd name="T45" fmla="*/ 85 h 96"/>
                  <a:gd name="T46" fmla="*/ 31 w 134"/>
                  <a:gd name="T47" fmla="*/ 87 h 96"/>
                  <a:gd name="T48" fmla="*/ 33 w 134"/>
                  <a:gd name="T49" fmla="*/ 85 h 96"/>
                  <a:gd name="T50" fmla="*/ 39 w 134"/>
                  <a:gd name="T51" fmla="*/ 88 h 96"/>
                  <a:gd name="T52" fmla="*/ 37 w 134"/>
                  <a:gd name="T53" fmla="*/ 96 h 96"/>
                  <a:gd name="T54" fmla="*/ 20 w 134"/>
                  <a:gd name="T55" fmla="*/ 96 h 96"/>
                  <a:gd name="T56" fmla="*/ 22 w 134"/>
                  <a:gd name="T57" fmla="*/ 92 h 96"/>
                  <a:gd name="T58" fmla="*/ 16 w 134"/>
                  <a:gd name="T59" fmla="*/ 90 h 96"/>
                  <a:gd name="T60" fmla="*/ 13 w 134"/>
                  <a:gd name="T61" fmla="*/ 87 h 96"/>
                  <a:gd name="T62" fmla="*/ 9 w 134"/>
                  <a:gd name="T63" fmla="*/ 87 h 96"/>
                  <a:gd name="T64" fmla="*/ 3 w 134"/>
                  <a:gd name="T65" fmla="*/ 87 h 96"/>
                  <a:gd name="T66" fmla="*/ 2 w 134"/>
                  <a:gd name="T67" fmla="*/ 73 h 96"/>
                  <a:gd name="T68" fmla="*/ 11 w 134"/>
                  <a:gd name="T69" fmla="*/ 70 h 96"/>
                  <a:gd name="T70" fmla="*/ 9 w 134"/>
                  <a:gd name="T71" fmla="*/ 68 h 96"/>
                  <a:gd name="T72" fmla="*/ 11 w 134"/>
                  <a:gd name="T73" fmla="*/ 64 h 96"/>
                  <a:gd name="T74" fmla="*/ 20 w 134"/>
                  <a:gd name="T75" fmla="*/ 60 h 96"/>
                  <a:gd name="T76" fmla="*/ 20 w 134"/>
                  <a:gd name="T77" fmla="*/ 53 h 96"/>
                  <a:gd name="T78" fmla="*/ 26 w 134"/>
                  <a:gd name="T79" fmla="*/ 51 h 96"/>
                  <a:gd name="T80" fmla="*/ 29 w 134"/>
                  <a:gd name="T81" fmla="*/ 46 h 96"/>
                  <a:gd name="T82" fmla="*/ 29 w 134"/>
                  <a:gd name="T83" fmla="*/ 36 h 96"/>
                  <a:gd name="T84" fmla="*/ 44 w 134"/>
                  <a:gd name="T85" fmla="*/ 31 h 96"/>
                  <a:gd name="T86" fmla="*/ 46 w 134"/>
                  <a:gd name="T87" fmla="*/ 27 h 96"/>
                  <a:gd name="T88" fmla="*/ 48 w 134"/>
                  <a:gd name="T89" fmla="*/ 29 h 96"/>
                  <a:gd name="T90" fmla="*/ 52 w 134"/>
                  <a:gd name="T91" fmla="*/ 25 h 96"/>
                  <a:gd name="T92" fmla="*/ 54 w 134"/>
                  <a:gd name="T93" fmla="*/ 21 h 96"/>
                  <a:gd name="T94" fmla="*/ 63 w 134"/>
                  <a:gd name="T95" fmla="*/ 19 h 96"/>
                  <a:gd name="T96" fmla="*/ 74 w 134"/>
                  <a:gd name="T97" fmla="*/ 18 h 96"/>
                  <a:gd name="T98" fmla="*/ 76 w 134"/>
                  <a:gd name="T99" fmla="*/ 16 h 96"/>
                  <a:gd name="T100" fmla="*/ 80 w 134"/>
                  <a:gd name="T101" fmla="*/ 18 h 96"/>
                  <a:gd name="T102" fmla="*/ 82 w 134"/>
                  <a:gd name="T103" fmla="*/ 14 h 96"/>
                  <a:gd name="T104" fmla="*/ 83 w 134"/>
                  <a:gd name="T105" fmla="*/ 14 h 96"/>
                  <a:gd name="T106" fmla="*/ 97 w 134"/>
                  <a:gd name="T107" fmla="*/ 12 h 96"/>
                  <a:gd name="T108" fmla="*/ 100 w 134"/>
                  <a:gd name="T109" fmla="*/ 10 h 96"/>
                  <a:gd name="T110" fmla="*/ 102 w 134"/>
                  <a:gd name="T111" fmla="*/ 8 h 96"/>
                  <a:gd name="T112" fmla="*/ 110 w 134"/>
                  <a:gd name="T113" fmla="*/ 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4" h="96">
                    <a:moveTo>
                      <a:pt x="110" y="3"/>
                    </a:moveTo>
                    <a:cubicBezTo>
                      <a:pt x="116" y="7"/>
                      <a:pt x="124" y="0"/>
                      <a:pt x="132" y="1"/>
                    </a:cubicBezTo>
                    <a:cubicBezTo>
                      <a:pt x="134" y="6"/>
                      <a:pt x="129" y="6"/>
                      <a:pt x="130" y="10"/>
                    </a:cubicBezTo>
                    <a:cubicBezTo>
                      <a:pt x="124" y="7"/>
                      <a:pt x="114" y="13"/>
                      <a:pt x="106" y="14"/>
                    </a:cubicBezTo>
                    <a:cubicBezTo>
                      <a:pt x="104" y="14"/>
                      <a:pt x="103" y="17"/>
                      <a:pt x="102" y="18"/>
                    </a:cubicBezTo>
                    <a:cubicBezTo>
                      <a:pt x="101" y="18"/>
                      <a:pt x="99" y="17"/>
                      <a:pt x="98" y="18"/>
                    </a:cubicBezTo>
                    <a:cubicBezTo>
                      <a:pt x="98" y="18"/>
                      <a:pt x="95" y="21"/>
                      <a:pt x="95" y="21"/>
                    </a:cubicBezTo>
                    <a:cubicBezTo>
                      <a:pt x="93" y="22"/>
                      <a:pt x="93" y="19"/>
                      <a:pt x="91" y="19"/>
                    </a:cubicBezTo>
                    <a:cubicBezTo>
                      <a:pt x="89" y="20"/>
                      <a:pt x="86" y="21"/>
                      <a:pt x="83" y="21"/>
                    </a:cubicBezTo>
                    <a:cubicBezTo>
                      <a:pt x="82" y="22"/>
                      <a:pt x="78" y="22"/>
                      <a:pt x="76" y="23"/>
                    </a:cubicBezTo>
                    <a:cubicBezTo>
                      <a:pt x="74" y="24"/>
                      <a:pt x="76" y="26"/>
                      <a:pt x="74" y="27"/>
                    </a:cubicBezTo>
                    <a:cubicBezTo>
                      <a:pt x="73" y="28"/>
                      <a:pt x="65" y="27"/>
                      <a:pt x="65" y="32"/>
                    </a:cubicBezTo>
                    <a:cubicBezTo>
                      <a:pt x="65" y="34"/>
                      <a:pt x="61" y="35"/>
                      <a:pt x="59" y="36"/>
                    </a:cubicBezTo>
                    <a:cubicBezTo>
                      <a:pt x="58" y="37"/>
                      <a:pt x="56" y="39"/>
                      <a:pt x="56" y="40"/>
                    </a:cubicBezTo>
                    <a:cubicBezTo>
                      <a:pt x="55" y="41"/>
                      <a:pt x="53" y="42"/>
                      <a:pt x="54" y="44"/>
                    </a:cubicBezTo>
                    <a:cubicBezTo>
                      <a:pt x="48" y="46"/>
                      <a:pt x="48" y="42"/>
                      <a:pt x="44" y="47"/>
                    </a:cubicBezTo>
                    <a:cubicBezTo>
                      <a:pt x="44" y="48"/>
                      <a:pt x="43" y="47"/>
                      <a:pt x="43" y="49"/>
                    </a:cubicBezTo>
                    <a:cubicBezTo>
                      <a:pt x="42" y="52"/>
                      <a:pt x="38" y="51"/>
                      <a:pt x="35" y="53"/>
                    </a:cubicBezTo>
                    <a:cubicBezTo>
                      <a:pt x="35" y="56"/>
                      <a:pt x="37" y="62"/>
                      <a:pt x="31" y="60"/>
                    </a:cubicBezTo>
                    <a:cubicBezTo>
                      <a:pt x="32" y="64"/>
                      <a:pt x="29" y="71"/>
                      <a:pt x="33" y="72"/>
                    </a:cubicBezTo>
                    <a:cubicBezTo>
                      <a:pt x="32" y="73"/>
                      <a:pt x="30" y="74"/>
                      <a:pt x="28" y="75"/>
                    </a:cubicBezTo>
                    <a:cubicBezTo>
                      <a:pt x="25" y="80"/>
                      <a:pt x="32" y="79"/>
                      <a:pt x="31" y="83"/>
                    </a:cubicBezTo>
                    <a:cubicBezTo>
                      <a:pt x="31" y="83"/>
                      <a:pt x="28" y="83"/>
                      <a:pt x="29" y="85"/>
                    </a:cubicBezTo>
                    <a:cubicBezTo>
                      <a:pt x="29" y="84"/>
                      <a:pt x="33" y="87"/>
                      <a:pt x="31" y="87"/>
                    </a:cubicBezTo>
                    <a:cubicBezTo>
                      <a:pt x="33" y="87"/>
                      <a:pt x="34" y="85"/>
                      <a:pt x="33" y="85"/>
                    </a:cubicBezTo>
                    <a:cubicBezTo>
                      <a:pt x="35" y="86"/>
                      <a:pt x="35" y="89"/>
                      <a:pt x="39" y="88"/>
                    </a:cubicBezTo>
                    <a:cubicBezTo>
                      <a:pt x="39" y="92"/>
                      <a:pt x="36" y="92"/>
                      <a:pt x="37" y="96"/>
                    </a:cubicBezTo>
                    <a:cubicBezTo>
                      <a:pt x="31" y="96"/>
                      <a:pt x="26" y="96"/>
                      <a:pt x="20" y="96"/>
                    </a:cubicBezTo>
                    <a:cubicBezTo>
                      <a:pt x="20" y="95"/>
                      <a:pt x="23" y="93"/>
                      <a:pt x="22" y="92"/>
                    </a:cubicBezTo>
                    <a:cubicBezTo>
                      <a:pt x="21" y="90"/>
                      <a:pt x="18" y="91"/>
                      <a:pt x="16" y="90"/>
                    </a:cubicBezTo>
                    <a:cubicBezTo>
                      <a:pt x="15" y="90"/>
                      <a:pt x="14" y="87"/>
                      <a:pt x="13" y="87"/>
                    </a:cubicBezTo>
                    <a:cubicBezTo>
                      <a:pt x="12" y="86"/>
                      <a:pt x="9" y="87"/>
                      <a:pt x="9" y="87"/>
                    </a:cubicBezTo>
                    <a:cubicBezTo>
                      <a:pt x="7" y="84"/>
                      <a:pt x="7" y="87"/>
                      <a:pt x="3" y="87"/>
                    </a:cubicBezTo>
                    <a:cubicBezTo>
                      <a:pt x="3" y="82"/>
                      <a:pt x="0" y="80"/>
                      <a:pt x="2" y="73"/>
                    </a:cubicBezTo>
                    <a:cubicBezTo>
                      <a:pt x="7" y="80"/>
                      <a:pt x="2" y="66"/>
                      <a:pt x="11" y="70"/>
                    </a:cubicBezTo>
                    <a:cubicBezTo>
                      <a:pt x="12" y="68"/>
                      <a:pt x="9" y="68"/>
                      <a:pt x="9" y="68"/>
                    </a:cubicBezTo>
                    <a:cubicBezTo>
                      <a:pt x="9" y="66"/>
                      <a:pt x="15" y="65"/>
                      <a:pt x="11" y="64"/>
                    </a:cubicBezTo>
                    <a:cubicBezTo>
                      <a:pt x="12" y="61"/>
                      <a:pt x="17" y="61"/>
                      <a:pt x="20" y="60"/>
                    </a:cubicBezTo>
                    <a:cubicBezTo>
                      <a:pt x="18" y="57"/>
                      <a:pt x="26" y="54"/>
                      <a:pt x="20" y="53"/>
                    </a:cubicBezTo>
                    <a:cubicBezTo>
                      <a:pt x="20" y="51"/>
                      <a:pt x="24" y="51"/>
                      <a:pt x="26" y="51"/>
                    </a:cubicBezTo>
                    <a:cubicBezTo>
                      <a:pt x="26" y="48"/>
                      <a:pt x="27" y="46"/>
                      <a:pt x="29" y="46"/>
                    </a:cubicBezTo>
                    <a:cubicBezTo>
                      <a:pt x="26" y="42"/>
                      <a:pt x="31" y="42"/>
                      <a:pt x="29" y="36"/>
                    </a:cubicBezTo>
                    <a:cubicBezTo>
                      <a:pt x="37" y="37"/>
                      <a:pt x="39" y="32"/>
                      <a:pt x="44" y="31"/>
                    </a:cubicBezTo>
                    <a:cubicBezTo>
                      <a:pt x="47" y="31"/>
                      <a:pt x="45" y="27"/>
                      <a:pt x="46" y="27"/>
                    </a:cubicBezTo>
                    <a:cubicBezTo>
                      <a:pt x="47" y="26"/>
                      <a:pt x="49" y="28"/>
                      <a:pt x="48" y="29"/>
                    </a:cubicBezTo>
                    <a:cubicBezTo>
                      <a:pt x="49" y="28"/>
                      <a:pt x="51" y="26"/>
                      <a:pt x="52" y="25"/>
                    </a:cubicBezTo>
                    <a:cubicBezTo>
                      <a:pt x="53" y="24"/>
                      <a:pt x="54" y="23"/>
                      <a:pt x="54" y="21"/>
                    </a:cubicBezTo>
                    <a:cubicBezTo>
                      <a:pt x="57" y="22"/>
                      <a:pt x="60" y="21"/>
                      <a:pt x="63" y="19"/>
                    </a:cubicBezTo>
                    <a:cubicBezTo>
                      <a:pt x="66" y="18"/>
                      <a:pt x="68" y="19"/>
                      <a:pt x="74" y="18"/>
                    </a:cubicBezTo>
                    <a:cubicBezTo>
                      <a:pt x="76" y="17"/>
                      <a:pt x="75" y="16"/>
                      <a:pt x="76" y="16"/>
                    </a:cubicBezTo>
                    <a:cubicBezTo>
                      <a:pt x="78" y="15"/>
                      <a:pt x="80" y="18"/>
                      <a:pt x="80" y="18"/>
                    </a:cubicBezTo>
                    <a:cubicBezTo>
                      <a:pt x="83" y="17"/>
                      <a:pt x="78" y="14"/>
                      <a:pt x="82" y="14"/>
                    </a:cubicBezTo>
                    <a:cubicBezTo>
                      <a:pt x="82" y="14"/>
                      <a:pt x="83" y="14"/>
                      <a:pt x="83" y="14"/>
                    </a:cubicBezTo>
                    <a:cubicBezTo>
                      <a:pt x="85" y="13"/>
                      <a:pt x="91" y="13"/>
                      <a:pt x="97" y="12"/>
                    </a:cubicBezTo>
                    <a:cubicBezTo>
                      <a:pt x="100" y="11"/>
                      <a:pt x="99" y="12"/>
                      <a:pt x="100" y="10"/>
                    </a:cubicBezTo>
                    <a:cubicBezTo>
                      <a:pt x="100" y="10"/>
                      <a:pt x="102" y="8"/>
                      <a:pt x="102" y="8"/>
                    </a:cubicBezTo>
                    <a:cubicBezTo>
                      <a:pt x="107" y="6"/>
                      <a:pt x="110" y="12"/>
                      <a:pt x="11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C46AB823-F5DB-4C15-8B92-D3A4F2B8BB65}"/>
                  </a:ext>
                </a:extLst>
              </p:cNvPr>
              <p:cNvSpPr/>
              <p:nvPr/>
            </p:nvSpPr>
            <p:spPr bwMode="auto">
              <a:xfrm>
                <a:off x="4053480" y="668427"/>
                <a:ext cx="29417" cy="12607"/>
              </a:xfrm>
              <a:custGeom>
                <a:avLst/>
                <a:gdLst>
                  <a:gd name="T0" fmla="*/ 10 w 14"/>
                  <a:gd name="T1" fmla="*/ 0 h 6"/>
                  <a:gd name="T2" fmla="*/ 14 w 14"/>
                  <a:gd name="T3" fmla="*/ 0 h 6"/>
                  <a:gd name="T4" fmla="*/ 10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0" y="0"/>
                    </a:moveTo>
                    <a:cubicBezTo>
                      <a:pt x="11" y="0"/>
                      <a:pt x="12" y="0"/>
                      <a:pt x="14" y="0"/>
                    </a:cubicBezTo>
                    <a:cubicBezTo>
                      <a:pt x="14" y="6"/>
                      <a:pt x="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D78DFF8-5156-4203-A147-B5257A2311BD}"/>
                  </a:ext>
                </a:extLst>
              </p:cNvPr>
              <p:cNvSpPr/>
              <p:nvPr/>
            </p:nvSpPr>
            <p:spPr bwMode="auto">
              <a:xfrm>
                <a:off x="7827188" y="682435"/>
                <a:ext cx="85448" cy="67238"/>
              </a:xfrm>
              <a:custGeom>
                <a:avLst/>
                <a:gdLst>
                  <a:gd name="T0" fmla="*/ 11 w 41"/>
                  <a:gd name="T1" fmla="*/ 1 h 32"/>
                  <a:gd name="T2" fmla="*/ 13 w 41"/>
                  <a:gd name="T3" fmla="*/ 3 h 32"/>
                  <a:gd name="T4" fmla="*/ 24 w 41"/>
                  <a:gd name="T5" fmla="*/ 8 h 32"/>
                  <a:gd name="T6" fmla="*/ 30 w 41"/>
                  <a:gd name="T7" fmla="*/ 5 h 32"/>
                  <a:gd name="T8" fmla="*/ 41 w 41"/>
                  <a:gd name="T9" fmla="*/ 6 h 32"/>
                  <a:gd name="T10" fmla="*/ 37 w 41"/>
                  <a:gd name="T11" fmla="*/ 16 h 32"/>
                  <a:gd name="T12" fmla="*/ 23 w 41"/>
                  <a:gd name="T13" fmla="*/ 19 h 32"/>
                  <a:gd name="T14" fmla="*/ 23 w 41"/>
                  <a:gd name="T15" fmla="*/ 21 h 32"/>
                  <a:gd name="T16" fmla="*/ 19 w 41"/>
                  <a:gd name="T17" fmla="*/ 25 h 32"/>
                  <a:gd name="T18" fmla="*/ 13 w 41"/>
                  <a:gd name="T19" fmla="*/ 27 h 32"/>
                  <a:gd name="T20" fmla="*/ 6 w 41"/>
                  <a:gd name="T21" fmla="*/ 23 h 32"/>
                  <a:gd name="T22" fmla="*/ 0 w 41"/>
                  <a:gd name="T23" fmla="*/ 8 h 32"/>
                  <a:gd name="T24" fmla="*/ 11 w 41"/>
                  <a:gd name="T25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32">
                    <a:moveTo>
                      <a:pt x="11" y="1"/>
                    </a:moveTo>
                    <a:cubicBezTo>
                      <a:pt x="13" y="0"/>
                      <a:pt x="13" y="2"/>
                      <a:pt x="13" y="3"/>
                    </a:cubicBezTo>
                    <a:cubicBezTo>
                      <a:pt x="15" y="7"/>
                      <a:pt x="21" y="6"/>
                      <a:pt x="24" y="8"/>
                    </a:cubicBezTo>
                    <a:cubicBezTo>
                      <a:pt x="28" y="10"/>
                      <a:pt x="29" y="5"/>
                      <a:pt x="30" y="5"/>
                    </a:cubicBezTo>
                    <a:cubicBezTo>
                      <a:pt x="32" y="4"/>
                      <a:pt x="35" y="8"/>
                      <a:pt x="41" y="6"/>
                    </a:cubicBezTo>
                    <a:cubicBezTo>
                      <a:pt x="40" y="8"/>
                      <a:pt x="31" y="12"/>
                      <a:pt x="37" y="16"/>
                    </a:cubicBezTo>
                    <a:cubicBezTo>
                      <a:pt x="36" y="20"/>
                      <a:pt x="29" y="20"/>
                      <a:pt x="23" y="19"/>
                    </a:cubicBezTo>
                    <a:cubicBezTo>
                      <a:pt x="20" y="20"/>
                      <a:pt x="21" y="21"/>
                      <a:pt x="23" y="21"/>
                    </a:cubicBezTo>
                    <a:cubicBezTo>
                      <a:pt x="24" y="25"/>
                      <a:pt x="12" y="22"/>
                      <a:pt x="19" y="25"/>
                    </a:cubicBezTo>
                    <a:cubicBezTo>
                      <a:pt x="19" y="32"/>
                      <a:pt x="13" y="21"/>
                      <a:pt x="13" y="27"/>
                    </a:cubicBezTo>
                    <a:cubicBezTo>
                      <a:pt x="10" y="26"/>
                      <a:pt x="12" y="21"/>
                      <a:pt x="6" y="23"/>
                    </a:cubicBezTo>
                    <a:cubicBezTo>
                      <a:pt x="4" y="18"/>
                      <a:pt x="5" y="10"/>
                      <a:pt x="0" y="8"/>
                    </a:cubicBezTo>
                    <a:cubicBezTo>
                      <a:pt x="2" y="4"/>
                      <a:pt x="13" y="8"/>
                      <a:pt x="11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3B047A0-CAA0-42AF-9A2C-6DE9B5EC02D6}"/>
                  </a:ext>
                </a:extLst>
              </p:cNvPr>
              <p:cNvSpPr/>
              <p:nvPr/>
            </p:nvSpPr>
            <p:spPr bwMode="auto">
              <a:xfrm>
                <a:off x="3770522" y="692241"/>
                <a:ext cx="23814" cy="15409"/>
              </a:xfrm>
              <a:custGeom>
                <a:avLst/>
                <a:gdLst>
                  <a:gd name="T0" fmla="*/ 6 w 11"/>
                  <a:gd name="T1" fmla="*/ 0 h 7"/>
                  <a:gd name="T2" fmla="*/ 8 w 11"/>
                  <a:gd name="T3" fmla="*/ 7 h 7"/>
                  <a:gd name="T4" fmla="*/ 0 w 11"/>
                  <a:gd name="T5" fmla="*/ 5 h 7"/>
                  <a:gd name="T6" fmla="*/ 6 w 11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7">
                    <a:moveTo>
                      <a:pt x="6" y="0"/>
                    </a:moveTo>
                    <a:cubicBezTo>
                      <a:pt x="11" y="1"/>
                      <a:pt x="8" y="2"/>
                      <a:pt x="8" y="7"/>
                    </a:cubicBezTo>
                    <a:cubicBezTo>
                      <a:pt x="6" y="6"/>
                      <a:pt x="4" y="5"/>
                      <a:pt x="0" y="5"/>
                    </a:cubicBezTo>
                    <a:cubicBezTo>
                      <a:pt x="1" y="2"/>
                      <a:pt x="7" y="4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175193BE-F04A-41A2-89B9-0D57A791A8DE}"/>
                  </a:ext>
                </a:extLst>
              </p:cNvPr>
              <p:cNvSpPr/>
              <p:nvPr/>
            </p:nvSpPr>
            <p:spPr bwMode="auto">
              <a:xfrm>
                <a:off x="7921040" y="692241"/>
                <a:ext cx="39222" cy="36420"/>
              </a:xfrm>
              <a:custGeom>
                <a:avLst/>
                <a:gdLst>
                  <a:gd name="T0" fmla="*/ 0 w 19"/>
                  <a:gd name="T1" fmla="*/ 5 h 17"/>
                  <a:gd name="T2" fmla="*/ 19 w 19"/>
                  <a:gd name="T3" fmla="*/ 9 h 17"/>
                  <a:gd name="T4" fmla="*/ 11 w 19"/>
                  <a:gd name="T5" fmla="*/ 16 h 17"/>
                  <a:gd name="T6" fmla="*/ 7 w 19"/>
                  <a:gd name="T7" fmla="*/ 13 h 17"/>
                  <a:gd name="T8" fmla="*/ 4 w 19"/>
                  <a:gd name="T9" fmla="*/ 13 h 17"/>
                  <a:gd name="T10" fmla="*/ 0 w 19"/>
                  <a:gd name="T11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7">
                    <a:moveTo>
                      <a:pt x="0" y="5"/>
                    </a:moveTo>
                    <a:cubicBezTo>
                      <a:pt x="6" y="0"/>
                      <a:pt x="16" y="5"/>
                      <a:pt x="19" y="9"/>
                    </a:cubicBezTo>
                    <a:cubicBezTo>
                      <a:pt x="18" y="13"/>
                      <a:pt x="10" y="10"/>
                      <a:pt x="11" y="16"/>
                    </a:cubicBezTo>
                    <a:cubicBezTo>
                      <a:pt x="9" y="17"/>
                      <a:pt x="8" y="13"/>
                      <a:pt x="7" y="13"/>
                    </a:cubicBezTo>
                    <a:cubicBezTo>
                      <a:pt x="7" y="12"/>
                      <a:pt x="4" y="13"/>
                      <a:pt x="4" y="13"/>
                    </a:cubicBezTo>
                    <a:cubicBezTo>
                      <a:pt x="2" y="10"/>
                      <a:pt x="4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AE75A08-B66D-4CFE-A9E5-F0EE84746B24}"/>
                  </a:ext>
                </a:extLst>
              </p:cNvPr>
              <p:cNvSpPr/>
              <p:nvPr/>
            </p:nvSpPr>
            <p:spPr bwMode="auto">
              <a:xfrm>
                <a:off x="7971468" y="703447"/>
                <a:ext cx="60234" cy="30817"/>
              </a:xfrm>
              <a:custGeom>
                <a:avLst/>
                <a:gdLst>
                  <a:gd name="T0" fmla="*/ 2 w 29"/>
                  <a:gd name="T1" fmla="*/ 2 h 15"/>
                  <a:gd name="T2" fmla="*/ 6 w 29"/>
                  <a:gd name="T3" fmla="*/ 2 h 15"/>
                  <a:gd name="T4" fmla="*/ 15 w 29"/>
                  <a:gd name="T5" fmla="*/ 6 h 15"/>
                  <a:gd name="T6" fmla="*/ 24 w 29"/>
                  <a:gd name="T7" fmla="*/ 9 h 15"/>
                  <a:gd name="T8" fmla="*/ 28 w 29"/>
                  <a:gd name="T9" fmla="*/ 13 h 15"/>
                  <a:gd name="T10" fmla="*/ 6 w 29"/>
                  <a:gd name="T11" fmla="*/ 9 h 15"/>
                  <a:gd name="T12" fmla="*/ 2 w 29"/>
                  <a:gd name="T1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5">
                    <a:moveTo>
                      <a:pt x="2" y="2"/>
                    </a:moveTo>
                    <a:cubicBezTo>
                      <a:pt x="3" y="2"/>
                      <a:pt x="4" y="2"/>
                      <a:pt x="6" y="2"/>
                    </a:cubicBezTo>
                    <a:cubicBezTo>
                      <a:pt x="11" y="0"/>
                      <a:pt x="11" y="5"/>
                      <a:pt x="15" y="6"/>
                    </a:cubicBezTo>
                    <a:cubicBezTo>
                      <a:pt x="19" y="7"/>
                      <a:pt x="21" y="8"/>
                      <a:pt x="24" y="9"/>
                    </a:cubicBezTo>
                    <a:cubicBezTo>
                      <a:pt x="26" y="11"/>
                      <a:pt x="29" y="9"/>
                      <a:pt x="28" y="13"/>
                    </a:cubicBezTo>
                    <a:cubicBezTo>
                      <a:pt x="17" y="15"/>
                      <a:pt x="14" y="10"/>
                      <a:pt x="6" y="9"/>
                    </a:cubicBezTo>
                    <a:cubicBezTo>
                      <a:pt x="8" y="3"/>
                      <a:pt x="0" y="8"/>
                      <a:pt x="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EAD622B-555A-4717-9361-58818729D04E}"/>
                  </a:ext>
                </a:extLst>
              </p:cNvPr>
              <p:cNvSpPr/>
              <p:nvPr/>
            </p:nvSpPr>
            <p:spPr bwMode="auto">
              <a:xfrm>
                <a:off x="4035270" y="752474"/>
                <a:ext cx="98055" cy="81245"/>
              </a:xfrm>
              <a:custGeom>
                <a:avLst/>
                <a:gdLst>
                  <a:gd name="T0" fmla="*/ 15 w 47"/>
                  <a:gd name="T1" fmla="*/ 8 h 39"/>
                  <a:gd name="T2" fmla="*/ 15 w 47"/>
                  <a:gd name="T3" fmla="*/ 6 h 39"/>
                  <a:gd name="T4" fmla="*/ 36 w 47"/>
                  <a:gd name="T5" fmla="*/ 0 h 39"/>
                  <a:gd name="T6" fmla="*/ 39 w 47"/>
                  <a:gd name="T7" fmla="*/ 8 h 39"/>
                  <a:gd name="T8" fmla="*/ 36 w 47"/>
                  <a:gd name="T9" fmla="*/ 13 h 39"/>
                  <a:gd name="T10" fmla="*/ 45 w 47"/>
                  <a:gd name="T11" fmla="*/ 15 h 39"/>
                  <a:gd name="T12" fmla="*/ 47 w 47"/>
                  <a:gd name="T13" fmla="*/ 30 h 39"/>
                  <a:gd name="T14" fmla="*/ 41 w 47"/>
                  <a:gd name="T15" fmla="*/ 30 h 39"/>
                  <a:gd name="T16" fmla="*/ 41 w 47"/>
                  <a:gd name="T17" fmla="*/ 34 h 39"/>
                  <a:gd name="T18" fmla="*/ 36 w 47"/>
                  <a:gd name="T19" fmla="*/ 34 h 39"/>
                  <a:gd name="T20" fmla="*/ 30 w 47"/>
                  <a:gd name="T21" fmla="*/ 38 h 39"/>
                  <a:gd name="T22" fmla="*/ 24 w 47"/>
                  <a:gd name="T23" fmla="*/ 32 h 39"/>
                  <a:gd name="T24" fmla="*/ 19 w 47"/>
                  <a:gd name="T25" fmla="*/ 26 h 39"/>
                  <a:gd name="T26" fmla="*/ 15 w 47"/>
                  <a:gd name="T27" fmla="*/ 23 h 39"/>
                  <a:gd name="T28" fmla="*/ 6 w 47"/>
                  <a:gd name="T29" fmla="*/ 21 h 39"/>
                  <a:gd name="T30" fmla="*/ 0 w 47"/>
                  <a:gd name="T31" fmla="*/ 17 h 39"/>
                  <a:gd name="T32" fmla="*/ 19 w 47"/>
                  <a:gd name="T33" fmla="*/ 19 h 39"/>
                  <a:gd name="T34" fmla="*/ 21 w 47"/>
                  <a:gd name="T35" fmla="*/ 12 h 39"/>
                  <a:gd name="T36" fmla="*/ 13 w 47"/>
                  <a:gd name="T37" fmla="*/ 6 h 39"/>
                  <a:gd name="T38" fmla="*/ 15 w 47"/>
                  <a:gd name="T39" fmla="*/ 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9">
                    <a:moveTo>
                      <a:pt x="15" y="8"/>
                    </a:moveTo>
                    <a:cubicBezTo>
                      <a:pt x="17" y="7"/>
                      <a:pt x="16" y="6"/>
                      <a:pt x="15" y="6"/>
                    </a:cubicBezTo>
                    <a:cubicBezTo>
                      <a:pt x="19" y="2"/>
                      <a:pt x="33" y="6"/>
                      <a:pt x="36" y="0"/>
                    </a:cubicBezTo>
                    <a:cubicBezTo>
                      <a:pt x="38" y="2"/>
                      <a:pt x="39" y="4"/>
                      <a:pt x="39" y="8"/>
                    </a:cubicBezTo>
                    <a:cubicBezTo>
                      <a:pt x="40" y="12"/>
                      <a:pt x="36" y="11"/>
                      <a:pt x="36" y="13"/>
                    </a:cubicBezTo>
                    <a:cubicBezTo>
                      <a:pt x="37" y="19"/>
                      <a:pt x="41" y="16"/>
                      <a:pt x="45" y="15"/>
                    </a:cubicBezTo>
                    <a:cubicBezTo>
                      <a:pt x="47" y="23"/>
                      <a:pt x="45" y="22"/>
                      <a:pt x="47" y="30"/>
                    </a:cubicBezTo>
                    <a:cubicBezTo>
                      <a:pt x="46" y="31"/>
                      <a:pt x="42" y="29"/>
                      <a:pt x="41" y="30"/>
                    </a:cubicBezTo>
                    <a:cubicBezTo>
                      <a:pt x="41" y="31"/>
                      <a:pt x="42" y="34"/>
                      <a:pt x="41" y="34"/>
                    </a:cubicBezTo>
                    <a:cubicBezTo>
                      <a:pt x="40" y="35"/>
                      <a:pt x="37" y="34"/>
                      <a:pt x="36" y="34"/>
                    </a:cubicBezTo>
                    <a:cubicBezTo>
                      <a:pt x="33" y="34"/>
                      <a:pt x="33" y="37"/>
                      <a:pt x="30" y="38"/>
                    </a:cubicBezTo>
                    <a:cubicBezTo>
                      <a:pt x="26" y="39"/>
                      <a:pt x="26" y="34"/>
                      <a:pt x="24" y="32"/>
                    </a:cubicBezTo>
                    <a:cubicBezTo>
                      <a:pt x="23" y="31"/>
                      <a:pt x="17" y="31"/>
                      <a:pt x="19" y="26"/>
                    </a:cubicBezTo>
                    <a:cubicBezTo>
                      <a:pt x="16" y="27"/>
                      <a:pt x="15" y="25"/>
                      <a:pt x="15" y="23"/>
                    </a:cubicBezTo>
                    <a:cubicBezTo>
                      <a:pt x="12" y="24"/>
                      <a:pt x="9" y="22"/>
                      <a:pt x="6" y="21"/>
                    </a:cubicBezTo>
                    <a:cubicBezTo>
                      <a:pt x="3" y="20"/>
                      <a:pt x="0" y="22"/>
                      <a:pt x="0" y="17"/>
                    </a:cubicBezTo>
                    <a:cubicBezTo>
                      <a:pt x="8" y="16"/>
                      <a:pt x="11" y="20"/>
                      <a:pt x="19" y="19"/>
                    </a:cubicBezTo>
                    <a:cubicBezTo>
                      <a:pt x="21" y="18"/>
                      <a:pt x="20" y="14"/>
                      <a:pt x="21" y="12"/>
                    </a:cubicBezTo>
                    <a:cubicBezTo>
                      <a:pt x="21" y="7"/>
                      <a:pt x="10" y="13"/>
                      <a:pt x="13" y="6"/>
                    </a:cubicBezTo>
                    <a:cubicBezTo>
                      <a:pt x="15" y="6"/>
                      <a:pt x="15" y="7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C08936F-7D47-4FCA-9F33-C7A962D8AC5C}"/>
                  </a:ext>
                </a:extLst>
              </p:cNvPr>
              <p:cNvSpPr/>
              <p:nvPr/>
            </p:nvSpPr>
            <p:spPr bwMode="auto">
              <a:xfrm>
                <a:off x="4384064" y="760879"/>
                <a:ext cx="58833" cy="28016"/>
              </a:xfrm>
              <a:custGeom>
                <a:avLst/>
                <a:gdLst>
                  <a:gd name="T0" fmla="*/ 0 w 28"/>
                  <a:gd name="T1" fmla="*/ 2 h 13"/>
                  <a:gd name="T2" fmla="*/ 7 w 28"/>
                  <a:gd name="T3" fmla="*/ 0 h 13"/>
                  <a:gd name="T4" fmla="*/ 28 w 28"/>
                  <a:gd name="T5" fmla="*/ 6 h 13"/>
                  <a:gd name="T6" fmla="*/ 26 w 28"/>
                  <a:gd name="T7" fmla="*/ 13 h 13"/>
                  <a:gd name="T8" fmla="*/ 6 w 28"/>
                  <a:gd name="T9" fmla="*/ 6 h 13"/>
                  <a:gd name="T10" fmla="*/ 0 w 28"/>
                  <a:gd name="T11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3">
                    <a:moveTo>
                      <a:pt x="0" y="2"/>
                    </a:moveTo>
                    <a:cubicBezTo>
                      <a:pt x="0" y="0"/>
                      <a:pt x="5" y="0"/>
                      <a:pt x="7" y="0"/>
                    </a:cubicBezTo>
                    <a:cubicBezTo>
                      <a:pt x="14" y="1"/>
                      <a:pt x="22" y="5"/>
                      <a:pt x="28" y="6"/>
                    </a:cubicBezTo>
                    <a:cubicBezTo>
                      <a:pt x="28" y="9"/>
                      <a:pt x="26" y="10"/>
                      <a:pt x="26" y="13"/>
                    </a:cubicBezTo>
                    <a:cubicBezTo>
                      <a:pt x="16" y="13"/>
                      <a:pt x="12" y="11"/>
                      <a:pt x="6" y="6"/>
                    </a:cubicBezTo>
                    <a:cubicBezTo>
                      <a:pt x="4" y="4"/>
                      <a:pt x="4" y="1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D2223F4-082D-4F33-A1FF-EA13B85B0EAE}"/>
                  </a:ext>
                </a:extLst>
              </p:cNvPr>
              <p:cNvSpPr/>
              <p:nvPr/>
            </p:nvSpPr>
            <p:spPr bwMode="auto">
              <a:xfrm>
                <a:off x="7881818" y="760879"/>
                <a:ext cx="39222" cy="15409"/>
              </a:xfrm>
              <a:custGeom>
                <a:avLst/>
                <a:gdLst>
                  <a:gd name="T0" fmla="*/ 19 w 19"/>
                  <a:gd name="T1" fmla="*/ 6 h 7"/>
                  <a:gd name="T2" fmla="*/ 0 w 19"/>
                  <a:gd name="T3" fmla="*/ 4 h 7"/>
                  <a:gd name="T4" fmla="*/ 6 w 19"/>
                  <a:gd name="T5" fmla="*/ 0 h 7"/>
                  <a:gd name="T6" fmla="*/ 19 w 19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7">
                    <a:moveTo>
                      <a:pt x="19" y="6"/>
                    </a:moveTo>
                    <a:cubicBezTo>
                      <a:pt x="16" y="7"/>
                      <a:pt x="5" y="6"/>
                      <a:pt x="0" y="4"/>
                    </a:cubicBezTo>
                    <a:cubicBezTo>
                      <a:pt x="1" y="1"/>
                      <a:pt x="6" y="3"/>
                      <a:pt x="6" y="0"/>
                    </a:cubicBezTo>
                    <a:cubicBezTo>
                      <a:pt x="10" y="2"/>
                      <a:pt x="19" y="0"/>
                      <a:pt x="19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7BB0E68-7C9C-4925-B20E-A58420A990CA}"/>
                  </a:ext>
                </a:extLst>
              </p:cNvPr>
              <p:cNvSpPr/>
              <p:nvPr/>
            </p:nvSpPr>
            <p:spPr bwMode="auto">
              <a:xfrm>
                <a:off x="4811304" y="846327"/>
                <a:ext cx="30817" cy="21012"/>
              </a:xfrm>
              <a:custGeom>
                <a:avLst/>
                <a:gdLst>
                  <a:gd name="T0" fmla="*/ 15 w 15"/>
                  <a:gd name="T1" fmla="*/ 8 h 10"/>
                  <a:gd name="T2" fmla="*/ 0 w 15"/>
                  <a:gd name="T3" fmla="*/ 4 h 10"/>
                  <a:gd name="T4" fmla="*/ 15 w 15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0">
                    <a:moveTo>
                      <a:pt x="15" y="8"/>
                    </a:moveTo>
                    <a:cubicBezTo>
                      <a:pt x="6" y="10"/>
                      <a:pt x="8" y="2"/>
                      <a:pt x="0" y="4"/>
                    </a:cubicBezTo>
                    <a:cubicBezTo>
                      <a:pt x="3" y="0"/>
                      <a:pt x="15" y="2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ACE7468-733B-4CE5-A3C8-C9C87017623F}"/>
                  </a:ext>
                </a:extLst>
              </p:cNvPr>
              <p:cNvSpPr/>
              <p:nvPr/>
            </p:nvSpPr>
            <p:spPr bwMode="auto">
              <a:xfrm>
                <a:off x="4790291" y="867338"/>
                <a:ext cx="43425" cy="25214"/>
              </a:xfrm>
              <a:custGeom>
                <a:avLst/>
                <a:gdLst>
                  <a:gd name="T0" fmla="*/ 21 w 21"/>
                  <a:gd name="T1" fmla="*/ 7 h 12"/>
                  <a:gd name="T2" fmla="*/ 3 w 21"/>
                  <a:gd name="T3" fmla="*/ 7 h 12"/>
                  <a:gd name="T4" fmla="*/ 8 w 21"/>
                  <a:gd name="T5" fmla="*/ 1 h 12"/>
                  <a:gd name="T6" fmla="*/ 21 w 21"/>
                  <a:gd name="T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2">
                    <a:moveTo>
                      <a:pt x="21" y="7"/>
                    </a:moveTo>
                    <a:cubicBezTo>
                      <a:pt x="19" y="12"/>
                      <a:pt x="5" y="12"/>
                      <a:pt x="3" y="7"/>
                    </a:cubicBezTo>
                    <a:cubicBezTo>
                      <a:pt x="0" y="0"/>
                      <a:pt x="9" y="6"/>
                      <a:pt x="8" y="1"/>
                    </a:cubicBezTo>
                    <a:cubicBezTo>
                      <a:pt x="12" y="4"/>
                      <a:pt x="16" y="6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18DBEA9-7107-425E-9866-96AAB38E3752}"/>
                  </a:ext>
                </a:extLst>
              </p:cNvPr>
              <p:cNvSpPr/>
              <p:nvPr/>
            </p:nvSpPr>
            <p:spPr bwMode="auto">
              <a:xfrm>
                <a:off x="6419400" y="885549"/>
                <a:ext cx="29417" cy="23814"/>
              </a:xfrm>
              <a:custGeom>
                <a:avLst/>
                <a:gdLst>
                  <a:gd name="T0" fmla="*/ 6 w 14"/>
                  <a:gd name="T1" fmla="*/ 0 h 11"/>
                  <a:gd name="T2" fmla="*/ 14 w 14"/>
                  <a:gd name="T3" fmla="*/ 7 h 11"/>
                  <a:gd name="T4" fmla="*/ 4 w 14"/>
                  <a:gd name="T5" fmla="*/ 11 h 11"/>
                  <a:gd name="T6" fmla="*/ 2 w 14"/>
                  <a:gd name="T7" fmla="*/ 2 h 11"/>
                  <a:gd name="T8" fmla="*/ 6 w 1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6" y="0"/>
                    </a:moveTo>
                    <a:cubicBezTo>
                      <a:pt x="11" y="0"/>
                      <a:pt x="13" y="2"/>
                      <a:pt x="14" y="7"/>
                    </a:cubicBezTo>
                    <a:cubicBezTo>
                      <a:pt x="9" y="7"/>
                      <a:pt x="5" y="7"/>
                      <a:pt x="4" y="11"/>
                    </a:cubicBezTo>
                    <a:cubicBezTo>
                      <a:pt x="0" y="11"/>
                      <a:pt x="3" y="4"/>
                      <a:pt x="2" y="2"/>
                    </a:cubicBezTo>
                    <a:cubicBezTo>
                      <a:pt x="5" y="2"/>
                      <a:pt x="6" y="1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F650BED3-C416-486D-A267-A75F300CDE3A}"/>
                  </a:ext>
                </a:extLst>
              </p:cNvPr>
              <p:cNvSpPr/>
              <p:nvPr/>
            </p:nvSpPr>
            <p:spPr bwMode="auto">
              <a:xfrm>
                <a:off x="3945620" y="900957"/>
                <a:ext cx="29417" cy="21012"/>
              </a:xfrm>
              <a:custGeom>
                <a:avLst/>
                <a:gdLst>
                  <a:gd name="T0" fmla="*/ 13 w 14"/>
                  <a:gd name="T1" fmla="*/ 8 h 10"/>
                  <a:gd name="T2" fmla="*/ 0 w 14"/>
                  <a:gd name="T3" fmla="*/ 10 h 10"/>
                  <a:gd name="T4" fmla="*/ 13 w 14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0">
                    <a:moveTo>
                      <a:pt x="13" y="8"/>
                    </a:moveTo>
                    <a:cubicBezTo>
                      <a:pt x="7" y="7"/>
                      <a:pt x="5" y="9"/>
                      <a:pt x="0" y="10"/>
                    </a:cubicBezTo>
                    <a:cubicBezTo>
                      <a:pt x="1" y="6"/>
                      <a:pt x="14" y="0"/>
                      <a:pt x="13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4DF32F0-4B59-4941-9D37-C82B9F2CE633}"/>
                  </a:ext>
                </a:extLst>
              </p:cNvPr>
              <p:cNvSpPr/>
              <p:nvPr/>
            </p:nvSpPr>
            <p:spPr bwMode="auto">
              <a:xfrm>
                <a:off x="4434494" y="917766"/>
                <a:ext cx="47627" cy="29417"/>
              </a:xfrm>
              <a:custGeom>
                <a:avLst/>
                <a:gdLst>
                  <a:gd name="T0" fmla="*/ 19 w 23"/>
                  <a:gd name="T1" fmla="*/ 2 h 14"/>
                  <a:gd name="T2" fmla="*/ 21 w 23"/>
                  <a:gd name="T3" fmla="*/ 13 h 14"/>
                  <a:gd name="T4" fmla="*/ 2 w 23"/>
                  <a:gd name="T5" fmla="*/ 9 h 14"/>
                  <a:gd name="T6" fmla="*/ 6 w 23"/>
                  <a:gd name="T7" fmla="*/ 2 h 14"/>
                  <a:gd name="T8" fmla="*/ 19 w 23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19" y="2"/>
                    </a:moveTo>
                    <a:cubicBezTo>
                      <a:pt x="21" y="4"/>
                      <a:pt x="23" y="11"/>
                      <a:pt x="21" y="13"/>
                    </a:cubicBezTo>
                    <a:cubicBezTo>
                      <a:pt x="13" y="12"/>
                      <a:pt x="4" y="14"/>
                      <a:pt x="2" y="9"/>
                    </a:cubicBezTo>
                    <a:cubicBezTo>
                      <a:pt x="0" y="3"/>
                      <a:pt x="8" y="8"/>
                      <a:pt x="6" y="2"/>
                    </a:cubicBezTo>
                    <a:cubicBezTo>
                      <a:pt x="11" y="0"/>
                      <a:pt x="19" y="5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C46F9BC-7867-4B3B-ABB7-3D771C9C9BD9}"/>
                  </a:ext>
                </a:extLst>
              </p:cNvPr>
              <p:cNvSpPr/>
              <p:nvPr/>
            </p:nvSpPr>
            <p:spPr bwMode="auto">
              <a:xfrm>
                <a:off x="4416282" y="999012"/>
                <a:ext cx="57433" cy="26615"/>
              </a:xfrm>
              <a:custGeom>
                <a:avLst/>
                <a:gdLst>
                  <a:gd name="T0" fmla="*/ 26 w 28"/>
                  <a:gd name="T1" fmla="*/ 5 h 13"/>
                  <a:gd name="T2" fmla="*/ 19 w 28"/>
                  <a:gd name="T3" fmla="*/ 9 h 13"/>
                  <a:gd name="T4" fmla="*/ 11 w 28"/>
                  <a:gd name="T5" fmla="*/ 11 h 13"/>
                  <a:gd name="T6" fmla="*/ 4 w 28"/>
                  <a:gd name="T7" fmla="*/ 9 h 13"/>
                  <a:gd name="T8" fmla="*/ 5 w 28"/>
                  <a:gd name="T9" fmla="*/ 4 h 13"/>
                  <a:gd name="T10" fmla="*/ 11 w 28"/>
                  <a:gd name="T11" fmla="*/ 0 h 13"/>
                  <a:gd name="T12" fmla="*/ 26 w 28"/>
                  <a:gd name="T1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3">
                    <a:moveTo>
                      <a:pt x="26" y="5"/>
                    </a:moveTo>
                    <a:cubicBezTo>
                      <a:pt x="28" y="11"/>
                      <a:pt x="21" y="9"/>
                      <a:pt x="19" y="9"/>
                    </a:cubicBezTo>
                    <a:cubicBezTo>
                      <a:pt x="18" y="9"/>
                      <a:pt x="13" y="13"/>
                      <a:pt x="11" y="11"/>
                    </a:cubicBezTo>
                    <a:cubicBezTo>
                      <a:pt x="10" y="9"/>
                      <a:pt x="6" y="10"/>
                      <a:pt x="4" y="9"/>
                    </a:cubicBezTo>
                    <a:cubicBezTo>
                      <a:pt x="0" y="4"/>
                      <a:pt x="12" y="6"/>
                      <a:pt x="5" y="4"/>
                    </a:cubicBezTo>
                    <a:cubicBezTo>
                      <a:pt x="6" y="1"/>
                      <a:pt x="11" y="3"/>
                      <a:pt x="11" y="0"/>
                    </a:cubicBezTo>
                    <a:cubicBezTo>
                      <a:pt x="16" y="1"/>
                      <a:pt x="22" y="2"/>
                      <a:pt x="26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8E16781C-A1A5-43D3-B3CC-987F5A1B7A58}"/>
                  </a:ext>
                </a:extLst>
              </p:cNvPr>
              <p:cNvSpPr/>
              <p:nvPr/>
            </p:nvSpPr>
            <p:spPr bwMode="auto">
              <a:xfrm>
                <a:off x="4417683" y="1039635"/>
                <a:ext cx="26615" cy="12607"/>
              </a:xfrm>
              <a:custGeom>
                <a:avLst/>
                <a:gdLst>
                  <a:gd name="T0" fmla="*/ 10 w 13"/>
                  <a:gd name="T1" fmla="*/ 6 h 6"/>
                  <a:gd name="T2" fmla="*/ 3 w 13"/>
                  <a:gd name="T3" fmla="*/ 6 h 6"/>
                  <a:gd name="T4" fmla="*/ 10 w 1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6">
                    <a:moveTo>
                      <a:pt x="10" y="6"/>
                    </a:moveTo>
                    <a:cubicBezTo>
                      <a:pt x="6" y="3"/>
                      <a:pt x="8" y="6"/>
                      <a:pt x="3" y="6"/>
                    </a:cubicBezTo>
                    <a:cubicBezTo>
                      <a:pt x="0" y="0"/>
                      <a:pt x="13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6D057EF-B318-4511-836D-413193E33351}"/>
                  </a:ext>
                </a:extLst>
              </p:cNvPr>
              <p:cNvSpPr/>
              <p:nvPr/>
            </p:nvSpPr>
            <p:spPr bwMode="auto">
              <a:xfrm>
                <a:off x="4330835" y="1059246"/>
                <a:ext cx="30817" cy="18211"/>
              </a:xfrm>
              <a:custGeom>
                <a:avLst/>
                <a:gdLst>
                  <a:gd name="T0" fmla="*/ 13 w 15"/>
                  <a:gd name="T1" fmla="*/ 1 h 9"/>
                  <a:gd name="T2" fmla="*/ 15 w 15"/>
                  <a:gd name="T3" fmla="*/ 4 h 9"/>
                  <a:gd name="T4" fmla="*/ 7 w 15"/>
                  <a:gd name="T5" fmla="*/ 6 h 9"/>
                  <a:gd name="T6" fmla="*/ 0 w 15"/>
                  <a:gd name="T7" fmla="*/ 6 h 9"/>
                  <a:gd name="T8" fmla="*/ 13 w 1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13" y="1"/>
                    </a:moveTo>
                    <a:cubicBezTo>
                      <a:pt x="13" y="3"/>
                      <a:pt x="13" y="4"/>
                      <a:pt x="15" y="4"/>
                    </a:cubicBezTo>
                    <a:cubicBezTo>
                      <a:pt x="15" y="8"/>
                      <a:pt x="9" y="5"/>
                      <a:pt x="7" y="6"/>
                    </a:cubicBezTo>
                    <a:cubicBezTo>
                      <a:pt x="5" y="9"/>
                      <a:pt x="7" y="6"/>
                      <a:pt x="0" y="6"/>
                    </a:cubicBezTo>
                    <a:cubicBezTo>
                      <a:pt x="3" y="3"/>
                      <a:pt x="6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5BF1DC7D-C12A-4650-8BFD-AB77CDD22F79}"/>
                  </a:ext>
                </a:extLst>
              </p:cNvPr>
              <p:cNvSpPr/>
              <p:nvPr/>
            </p:nvSpPr>
            <p:spPr bwMode="auto">
              <a:xfrm>
                <a:off x="4388266" y="1076055"/>
                <a:ext cx="12607" cy="18211"/>
              </a:xfrm>
              <a:custGeom>
                <a:avLst/>
                <a:gdLst>
                  <a:gd name="T0" fmla="*/ 2 w 6"/>
                  <a:gd name="T1" fmla="*/ 0 h 9"/>
                  <a:gd name="T2" fmla="*/ 5 w 6"/>
                  <a:gd name="T3" fmla="*/ 8 h 9"/>
                  <a:gd name="T4" fmla="*/ 2 w 6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9">
                    <a:moveTo>
                      <a:pt x="2" y="0"/>
                    </a:moveTo>
                    <a:cubicBezTo>
                      <a:pt x="5" y="1"/>
                      <a:pt x="6" y="3"/>
                      <a:pt x="5" y="8"/>
                    </a:cubicBezTo>
                    <a:cubicBezTo>
                      <a:pt x="0" y="9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96F1A36-D917-4779-8C56-DC2A64873EC2}"/>
                  </a:ext>
                </a:extLst>
              </p:cNvPr>
              <p:cNvSpPr/>
              <p:nvPr/>
            </p:nvSpPr>
            <p:spPr bwMode="auto">
              <a:xfrm>
                <a:off x="5499087" y="1237145"/>
                <a:ext cx="68639" cy="84047"/>
              </a:xfrm>
              <a:custGeom>
                <a:avLst/>
                <a:gdLst>
                  <a:gd name="T0" fmla="*/ 12 w 33"/>
                  <a:gd name="T1" fmla="*/ 0 h 40"/>
                  <a:gd name="T2" fmla="*/ 14 w 33"/>
                  <a:gd name="T3" fmla="*/ 2 h 40"/>
                  <a:gd name="T4" fmla="*/ 27 w 33"/>
                  <a:gd name="T5" fmla="*/ 2 h 40"/>
                  <a:gd name="T6" fmla="*/ 32 w 33"/>
                  <a:gd name="T7" fmla="*/ 6 h 40"/>
                  <a:gd name="T8" fmla="*/ 31 w 33"/>
                  <a:gd name="T9" fmla="*/ 10 h 40"/>
                  <a:gd name="T10" fmla="*/ 27 w 33"/>
                  <a:gd name="T11" fmla="*/ 12 h 40"/>
                  <a:gd name="T12" fmla="*/ 31 w 33"/>
                  <a:gd name="T13" fmla="*/ 21 h 40"/>
                  <a:gd name="T14" fmla="*/ 29 w 33"/>
                  <a:gd name="T15" fmla="*/ 30 h 40"/>
                  <a:gd name="T16" fmla="*/ 19 w 33"/>
                  <a:gd name="T17" fmla="*/ 30 h 40"/>
                  <a:gd name="T18" fmla="*/ 18 w 33"/>
                  <a:gd name="T19" fmla="*/ 36 h 40"/>
                  <a:gd name="T20" fmla="*/ 14 w 33"/>
                  <a:gd name="T21" fmla="*/ 40 h 40"/>
                  <a:gd name="T22" fmla="*/ 3 w 33"/>
                  <a:gd name="T23" fmla="*/ 40 h 40"/>
                  <a:gd name="T24" fmla="*/ 6 w 33"/>
                  <a:gd name="T25" fmla="*/ 28 h 40"/>
                  <a:gd name="T26" fmla="*/ 6 w 33"/>
                  <a:gd name="T27" fmla="*/ 21 h 40"/>
                  <a:gd name="T28" fmla="*/ 3 w 33"/>
                  <a:gd name="T29" fmla="*/ 12 h 40"/>
                  <a:gd name="T30" fmla="*/ 10 w 33"/>
                  <a:gd name="T31" fmla="*/ 13 h 40"/>
                  <a:gd name="T32" fmla="*/ 12 w 33"/>
                  <a:gd name="T3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40">
                    <a:moveTo>
                      <a:pt x="12" y="0"/>
                    </a:moveTo>
                    <a:cubicBezTo>
                      <a:pt x="14" y="0"/>
                      <a:pt x="14" y="1"/>
                      <a:pt x="14" y="2"/>
                    </a:cubicBezTo>
                    <a:cubicBezTo>
                      <a:pt x="14" y="5"/>
                      <a:pt x="22" y="0"/>
                      <a:pt x="27" y="2"/>
                    </a:cubicBezTo>
                    <a:cubicBezTo>
                      <a:pt x="28" y="5"/>
                      <a:pt x="29" y="6"/>
                      <a:pt x="32" y="6"/>
                    </a:cubicBezTo>
                    <a:cubicBezTo>
                      <a:pt x="33" y="8"/>
                      <a:pt x="32" y="9"/>
                      <a:pt x="31" y="10"/>
                    </a:cubicBezTo>
                    <a:cubicBezTo>
                      <a:pt x="31" y="11"/>
                      <a:pt x="28" y="11"/>
                      <a:pt x="27" y="12"/>
                    </a:cubicBezTo>
                    <a:cubicBezTo>
                      <a:pt x="27" y="16"/>
                      <a:pt x="30" y="17"/>
                      <a:pt x="31" y="21"/>
                    </a:cubicBezTo>
                    <a:cubicBezTo>
                      <a:pt x="31" y="24"/>
                      <a:pt x="28" y="26"/>
                      <a:pt x="29" y="30"/>
                    </a:cubicBezTo>
                    <a:cubicBezTo>
                      <a:pt x="26" y="30"/>
                      <a:pt x="23" y="30"/>
                      <a:pt x="19" y="30"/>
                    </a:cubicBezTo>
                    <a:cubicBezTo>
                      <a:pt x="17" y="30"/>
                      <a:pt x="19" y="34"/>
                      <a:pt x="18" y="36"/>
                    </a:cubicBezTo>
                    <a:cubicBezTo>
                      <a:pt x="17" y="37"/>
                      <a:pt x="12" y="36"/>
                      <a:pt x="14" y="40"/>
                    </a:cubicBezTo>
                    <a:cubicBezTo>
                      <a:pt x="10" y="40"/>
                      <a:pt x="6" y="40"/>
                      <a:pt x="3" y="40"/>
                    </a:cubicBezTo>
                    <a:cubicBezTo>
                      <a:pt x="4" y="36"/>
                      <a:pt x="0" y="27"/>
                      <a:pt x="6" y="28"/>
                    </a:cubicBezTo>
                    <a:cubicBezTo>
                      <a:pt x="7" y="23"/>
                      <a:pt x="3" y="25"/>
                      <a:pt x="6" y="21"/>
                    </a:cubicBezTo>
                    <a:cubicBezTo>
                      <a:pt x="8" y="15"/>
                      <a:pt x="1" y="17"/>
                      <a:pt x="3" y="12"/>
                    </a:cubicBezTo>
                    <a:cubicBezTo>
                      <a:pt x="7" y="11"/>
                      <a:pt x="8" y="13"/>
                      <a:pt x="10" y="13"/>
                    </a:cubicBezTo>
                    <a:cubicBezTo>
                      <a:pt x="14" y="13"/>
                      <a:pt x="11" y="4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F3DF3DC2-B189-4FCC-AF74-CD3D1F74B5BC}"/>
                  </a:ext>
                </a:extLst>
              </p:cNvPr>
              <p:cNvSpPr/>
              <p:nvPr/>
            </p:nvSpPr>
            <p:spPr bwMode="auto">
              <a:xfrm>
                <a:off x="3054722" y="1241347"/>
                <a:ext cx="21012" cy="19611"/>
              </a:xfrm>
              <a:custGeom>
                <a:avLst/>
                <a:gdLst>
                  <a:gd name="T0" fmla="*/ 9 w 10"/>
                  <a:gd name="T1" fmla="*/ 0 h 9"/>
                  <a:gd name="T2" fmla="*/ 7 w 10"/>
                  <a:gd name="T3" fmla="*/ 4 h 9"/>
                  <a:gd name="T4" fmla="*/ 0 w 10"/>
                  <a:gd name="T5" fmla="*/ 6 h 9"/>
                  <a:gd name="T6" fmla="*/ 9 w 1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9" y="0"/>
                    </a:moveTo>
                    <a:cubicBezTo>
                      <a:pt x="10" y="3"/>
                      <a:pt x="8" y="3"/>
                      <a:pt x="7" y="4"/>
                    </a:cubicBezTo>
                    <a:cubicBezTo>
                      <a:pt x="5" y="7"/>
                      <a:pt x="4" y="9"/>
                      <a:pt x="0" y="6"/>
                    </a:cubicBezTo>
                    <a:cubicBezTo>
                      <a:pt x="1" y="2"/>
                      <a:pt x="5" y="1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C18F869-F515-4BA7-BD56-646D2C5D1737}"/>
                  </a:ext>
                </a:extLst>
              </p:cNvPr>
              <p:cNvSpPr/>
              <p:nvPr/>
            </p:nvSpPr>
            <p:spPr bwMode="auto">
              <a:xfrm>
                <a:off x="3560405" y="1258157"/>
                <a:ext cx="25214" cy="37822"/>
              </a:xfrm>
              <a:custGeom>
                <a:avLst/>
                <a:gdLst>
                  <a:gd name="T0" fmla="*/ 3 w 12"/>
                  <a:gd name="T1" fmla="*/ 0 h 18"/>
                  <a:gd name="T2" fmla="*/ 12 w 12"/>
                  <a:gd name="T3" fmla="*/ 13 h 18"/>
                  <a:gd name="T4" fmla="*/ 5 w 12"/>
                  <a:gd name="T5" fmla="*/ 9 h 18"/>
                  <a:gd name="T6" fmla="*/ 3 w 12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8">
                    <a:moveTo>
                      <a:pt x="3" y="0"/>
                    </a:moveTo>
                    <a:cubicBezTo>
                      <a:pt x="6" y="4"/>
                      <a:pt x="7" y="11"/>
                      <a:pt x="12" y="13"/>
                    </a:cubicBezTo>
                    <a:cubicBezTo>
                      <a:pt x="10" y="18"/>
                      <a:pt x="5" y="12"/>
                      <a:pt x="5" y="9"/>
                    </a:cubicBezTo>
                    <a:cubicBezTo>
                      <a:pt x="0" y="9"/>
                      <a:pt x="0" y="2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CCBE3C39-BD68-4574-B336-2ED7490BCAC1}"/>
                  </a:ext>
                </a:extLst>
              </p:cNvPr>
              <p:cNvSpPr/>
              <p:nvPr/>
            </p:nvSpPr>
            <p:spPr bwMode="auto">
              <a:xfrm>
                <a:off x="7900029" y="1241347"/>
                <a:ext cx="40623" cy="180701"/>
              </a:xfrm>
              <a:custGeom>
                <a:avLst/>
                <a:gdLst>
                  <a:gd name="T0" fmla="*/ 6 w 19"/>
                  <a:gd name="T1" fmla="*/ 10 h 87"/>
                  <a:gd name="T2" fmla="*/ 10 w 19"/>
                  <a:gd name="T3" fmla="*/ 23 h 87"/>
                  <a:gd name="T4" fmla="*/ 12 w 19"/>
                  <a:gd name="T5" fmla="*/ 30 h 87"/>
                  <a:gd name="T6" fmla="*/ 12 w 19"/>
                  <a:gd name="T7" fmla="*/ 36 h 87"/>
                  <a:gd name="T8" fmla="*/ 14 w 19"/>
                  <a:gd name="T9" fmla="*/ 51 h 87"/>
                  <a:gd name="T10" fmla="*/ 19 w 19"/>
                  <a:gd name="T11" fmla="*/ 58 h 87"/>
                  <a:gd name="T12" fmla="*/ 12 w 19"/>
                  <a:gd name="T13" fmla="*/ 60 h 87"/>
                  <a:gd name="T14" fmla="*/ 12 w 19"/>
                  <a:gd name="T15" fmla="*/ 73 h 87"/>
                  <a:gd name="T16" fmla="*/ 8 w 19"/>
                  <a:gd name="T17" fmla="*/ 73 h 87"/>
                  <a:gd name="T18" fmla="*/ 12 w 19"/>
                  <a:gd name="T19" fmla="*/ 86 h 87"/>
                  <a:gd name="T20" fmla="*/ 2 w 19"/>
                  <a:gd name="T21" fmla="*/ 84 h 87"/>
                  <a:gd name="T22" fmla="*/ 4 w 19"/>
                  <a:gd name="T23" fmla="*/ 73 h 87"/>
                  <a:gd name="T24" fmla="*/ 1 w 19"/>
                  <a:gd name="T25" fmla="*/ 67 h 87"/>
                  <a:gd name="T26" fmla="*/ 4 w 19"/>
                  <a:gd name="T27" fmla="*/ 45 h 87"/>
                  <a:gd name="T28" fmla="*/ 1 w 19"/>
                  <a:gd name="T29" fmla="*/ 36 h 87"/>
                  <a:gd name="T30" fmla="*/ 1 w 19"/>
                  <a:gd name="T31" fmla="*/ 23 h 87"/>
                  <a:gd name="T32" fmla="*/ 6 w 19"/>
                  <a:gd name="T33" fmla="*/ 17 h 87"/>
                  <a:gd name="T34" fmla="*/ 8 w 19"/>
                  <a:gd name="T35" fmla="*/ 11 h 87"/>
                  <a:gd name="T36" fmla="*/ 6 w 19"/>
                  <a:gd name="T37" fmla="*/ 1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87">
                    <a:moveTo>
                      <a:pt x="6" y="10"/>
                    </a:moveTo>
                    <a:cubicBezTo>
                      <a:pt x="14" y="0"/>
                      <a:pt x="7" y="20"/>
                      <a:pt x="10" y="23"/>
                    </a:cubicBezTo>
                    <a:cubicBezTo>
                      <a:pt x="13" y="25"/>
                      <a:pt x="8" y="26"/>
                      <a:pt x="12" y="30"/>
                    </a:cubicBezTo>
                    <a:cubicBezTo>
                      <a:pt x="14" y="33"/>
                      <a:pt x="12" y="33"/>
                      <a:pt x="12" y="36"/>
                    </a:cubicBezTo>
                    <a:cubicBezTo>
                      <a:pt x="12" y="38"/>
                      <a:pt x="15" y="43"/>
                      <a:pt x="14" y="51"/>
                    </a:cubicBezTo>
                    <a:cubicBezTo>
                      <a:pt x="13" y="55"/>
                      <a:pt x="16" y="56"/>
                      <a:pt x="19" y="58"/>
                    </a:cubicBezTo>
                    <a:cubicBezTo>
                      <a:pt x="19" y="62"/>
                      <a:pt x="14" y="62"/>
                      <a:pt x="12" y="60"/>
                    </a:cubicBezTo>
                    <a:cubicBezTo>
                      <a:pt x="11" y="65"/>
                      <a:pt x="11" y="73"/>
                      <a:pt x="12" y="73"/>
                    </a:cubicBezTo>
                    <a:cubicBezTo>
                      <a:pt x="12" y="73"/>
                      <a:pt x="8" y="73"/>
                      <a:pt x="8" y="73"/>
                    </a:cubicBezTo>
                    <a:cubicBezTo>
                      <a:pt x="8" y="77"/>
                      <a:pt x="13" y="78"/>
                      <a:pt x="12" y="86"/>
                    </a:cubicBezTo>
                    <a:cubicBezTo>
                      <a:pt x="6" y="84"/>
                      <a:pt x="7" y="87"/>
                      <a:pt x="2" y="84"/>
                    </a:cubicBezTo>
                    <a:cubicBezTo>
                      <a:pt x="6" y="79"/>
                      <a:pt x="2" y="78"/>
                      <a:pt x="4" y="73"/>
                    </a:cubicBezTo>
                    <a:cubicBezTo>
                      <a:pt x="4" y="70"/>
                      <a:pt x="3" y="68"/>
                      <a:pt x="1" y="67"/>
                    </a:cubicBezTo>
                    <a:cubicBezTo>
                      <a:pt x="2" y="63"/>
                      <a:pt x="6" y="55"/>
                      <a:pt x="4" y="45"/>
                    </a:cubicBezTo>
                    <a:cubicBezTo>
                      <a:pt x="4" y="41"/>
                      <a:pt x="1" y="39"/>
                      <a:pt x="1" y="36"/>
                    </a:cubicBezTo>
                    <a:cubicBezTo>
                      <a:pt x="0" y="30"/>
                      <a:pt x="5" y="26"/>
                      <a:pt x="1" y="23"/>
                    </a:cubicBezTo>
                    <a:cubicBezTo>
                      <a:pt x="2" y="20"/>
                      <a:pt x="3" y="18"/>
                      <a:pt x="6" y="17"/>
                    </a:cubicBezTo>
                    <a:cubicBezTo>
                      <a:pt x="6" y="14"/>
                      <a:pt x="6" y="12"/>
                      <a:pt x="8" y="11"/>
                    </a:cubicBezTo>
                    <a:cubicBezTo>
                      <a:pt x="8" y="10"/>
                      <a:pt x="7" y="10"/>
                      <a:pt x="6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35881F4E-C14B-4A19-ABD1-83ADB86FB972}"/>
                  </a:ext>
                </a:extLst>
              </p:cNvPr>
              <p:cNvSpPr/>
              <p:nvPr/>
            </p:nvSpPr>
            <p:spPr bwMode="auto">
              <a:xfrm>
                <a:off x="3023905" y="1260958"/>
                <a:ext cx="9806" cy="18211"/>
              </a:xfrm>
              <a:custGeom>
                <a:avLst/>
                <a:gdLst>
                  <a:gd name="T0" fmla="*/ 2 w 5"/>
                  <a:gd name="T1" fmla="*/ 1 h 9"/>
                  <a:gd name="T2" fmla="*/ 0 w 5"/>
                  <a:gd name="T3" fmla="*/ 6 h 9"/>
                  <a:gd name="T4" fmla="*/ 0 w 5"/>
                  <a:gd name="T5" fmla="*/ 2 h 9"/>
                  <a:gd name="T6" fmla="*/ 2 w 5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1"/>
                    </a:moveTo>
                    <a:cubicBezTo>
                      <a:pt x="5" y="0"/>
                      <a:pt x="4" y="9"/>
                      <a:pt x="0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1" y="3"/>
                      <a:pt x="1" y="2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302AD753-0BC5-46CC-B423-5D9307276108}"/>
                  </a:ext>
                </a:extLst>
              </p:cNvPr>
              <p:cNvSpPr/>
              <p:nvPr/>
            </p:nvSpPr>
            <p:spPr bwMode="auto">
              <a:xfrm>
                <a:off x="4717451" y="1322593"/>
                <a:ext cx="116265" cy="98055"/>
              </a:xfrm>
              <a:custGeom>
                <a:avLst/>
                <a:gdLst>
                  <a:gd name="T0" fmla="*/ 25 w 56"/>
                  <a:gd name="T1" fmla="*/ 0 h 47"/>
                  <a:gd name="T2" fmla="*/ 30 w 56"/>
                  <a:gd name="T3" fmla="*/ 4 h 47"/>
                  <a:gd name="T4" fmla="*/ 28 w 56"/>
                  <a:gd name="T5" fmla="*/ 12 h 47"/>
                  <a:gd name="T6" fmla="*/ 36 w 56"/>
                  <a:gd name="T7" fmla="*/ 15 h 47"/>
                  <a:gd name="T8" fmla="*/ 47 w 56"/>
                  <a:gd name="T9" fmla="*/ 19 h 47"/>
                  <a:gd name="T10" fmla="*/ 45 w 56"/>
                  <a:gd name="T11" fmla="*/ 26 h 47"/>
                  <a:gd name="T12" fmla="*/ 51 w 56"/>
                  <a:gd name="T13" fmla="*/ 28 h 47"/>
                  <a:gd name="T14" fmla="*/ 54 w 56"/>
                  <a:gd name="T15" fmla="*/ 34 h 47"/>
                  <a:gd name="T16" fmla="*/ 51 w 56"/>
                  <a:gd name="T17" fmla="*/ 43 h 47"/>
                  <a:gd name="T18" fmla="*/ 49 w 56"/>
                  <a:gd name="T19" fmla="*/ 40 h 47"/>
                  <a:gd name="T20" fmla="*/ 38 w 56"/>
                  <a:gd name="T21" fmla="*/ 40 h 47"/>
                  <a:gd name="T22" fmla="*/ 30 w 56"/>
                  <a:gd name="T23" fmla="*/ 47 h 47"/>
                  <a:gd name="T24" fmla="*/ 26 w 56"/>
                  <a:gd name="T25" fmla="*/ 41 h 47"/>
                  <a:gd name="T26" fmla="*/ 21 w 56"/>
                  <a:gd name="T27" fmla="*/ 40 h 47"/>
                  <a:gd name="T28" fmla="*/ 13 w 56"/>
                  <a:gd name="T29" fmla="*/ 34 h 47"/>
                  <a:gd name="T30" fmla="*/ 0 w 56"/>
                  <a:gd name="T31" fmla="*/ 36 h 47"/>
                  <a:gd name="T32" fmla="*/ 2 w 56"/>
                  <a:gd name="T33" fmla="*/ 28 h 47"/>
                  <a:gd name="T34" fmla="*/ 10 w 56"/>
                  <a:gd name="T35" fmla="*/ 25 h 47"/>
                  <a:gd name="T36" fmla="*/ 13 w 56"/>
                  <a:gd name="T37" fmla="*/ 17 h 47"/>
                  <a:gd name="T38" fmla="*/ 15 w 56"/>
                  <a:gd name="T39" fmla="*/ 8 h 47"/>
                  <a:gd name="T40" fmla="*/ 19 w 56"/>
                  <a:gd name="T41" fmla="*/ 8 h 47"/>
                  <a:gd name="T42" fmla="*/ 19 w 56"/>
                  <a:gd name="T43" fmla="*/ 4 h 47"/>
                  <a:gd name="T44" fmla="*/ 25 w 56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47">
                    <a:moveTo>
                      <a:pt x="25" y="0"/>
                    </a:moveTo>
                    <a:cubicBezTo>
                      <a:pt x="27" y="1"/>
                      <a:pt x="27" y="4"/>
                      <a:pt x="30" y="4"/>
                    </a:cubicBezTo>
                    <a:cubicBezTo>
                      <a:pt x="29" y="8"/>
                      <a:pt x="24" y="8"/>
                      <a:pt x="28" y="12"/>
                    </a:cubicBezTo>
                    <a:cubicBezTo>
                      <a:pt x="27" y="16"/>
                      <a:pt x="33" y="14"/>
                      <a:pt x="36" y="15"/>
                    </a:cubicBezTo>
                    <a:cubicBezTo>
                      <a:pt x="37" y="16"/>
                      <a:pt x="40" y="22"/>
                      <a:pt x="47" y="19"/>
                    </a:cubicBezTo>
                    <a:cubicBezTo>
                      <a:pt x="47" y="24"/>
                      <a:pt x="50" y="25"/>
                      <a:pt x="45" y="26"/>
                    </a:cubicBezTo>
                    <a:cubicBezTo>
                      <a:pt x="45" y="29"/>
                      <a:pt x="49" y="27"/>
                      <a:pt x="51" y="28"/>
                    </a:cubicBezTo>
                    <a:cubicBezTo>
                      <a:pt x="52" y="30"/>
                      <a:pt x="49" y="36"/>
                      <a:pt x="54" y="34"/>
                    </a:cubicBezTo>
                    <a:cubicBezTo>
                      <a:pt x="56" y="40"/>
                      <a:pt x="49" y="38"/>
                      <a:pt x="51" y="43"/>
                    </a:cubicBezTo>
                    <a:cubicBezTo>
                      <a:pt x="49" y="43"/>
                      <a:pt x="49" y="41"/>
                      <a:pt x="49" y="40"/>
                    </a:cubicBezTo>
                    <a:cubicBezTo>
                      <a:pt x="42" y="40"/>
                      <a:pt x="43" y="42"/>
                      <a:pt x="38" y="40"/>
                    </a:cubicBezTo>
                    <a:cubicBezTo>
                      <a:pt x="35" y="42"/>
                      <a:pt x="30" y="42"/>
                      <a:pt x="30" y="47"/>
                    </a:cubicBezTo>
                    <a:cubicBezTo>
                      <a:pt x="27" y="47"/>
                      <a:pt x="28" y="43"/>
                      <a:pt x="26" y="41"/>
                    </a:cubicBezTo>
                    <a:cubicBezTo>
                      <a:pt x="25" y="40"/>
                      <a:pt x="22" y="41"/>
                      <a:pt x="21" y="40"/>
                    </a:cubicBezTo>
                    <a:cubicBezTo>
                      <a:pt x="19" y="38"/>
                      <a:pt x="18" y="35"/>
                      <a:pt x="13" y="34"/>
                    </a:cubicBezTo>
                    <a:cubicBezTo>
                      <a:pt x="7" y="33"/>
                      <a:pt x="7" y="37"/>
                      <a:pt x="0" y="36"/>
                    </a:cubicBezTo>
                    <a:cubicBezTo>
                      <a:pt x="2" y="34"/>
                      <a:pt x="2" y="32"/>
                      <a:pt x="2" y="28"/>
                    </a:cubicBezTo>
                    <a:cubicBezTo>
                      <a:pt x="8" y="31"/>
                      <a:pt x="4" y="22"/>
                      <a:pt x="10" y="25"/>
                    </a:cubicBezTo>
                    <a:cubicBezTo>
                      <a:pt x="7" y="20"/>
                      <a:pt x="12" y="19"/>
                      <a:pt x="13" y="17"/>
                    </a:cubicBezTo>
                    <a:cubicBezTo>
                      <a:pt x="14" y="15"/>
                      <a:pt x="13" y="11"/>
                      <a:pt x="15" y="8"/>
                    </a:cubicBezTo>
                    <a:cubicBezTo>
                      <a:pt x="16" y="7"/>
                      <a:pt x="18" y="8"/>
                      <a:pt x="19" y="8"/>
                    </a:cubicBezTo>
                    <a:cubicBezTo>
                      <a:pt x="20" y="7"/>
                      <a:pt x="18" y="5"/>
                      <a:pt x="19" y="4"/>
                    </a:cubicBezTo>
                    <a:cubicBezTo>
                      <a:pt x="21" y="3"/>
                      <a:pt x="25" y="4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BFFB2B7-E674-4610-A7D5-DB1020141221}"/>
                  </a:ext>
                </a:extLst>
              </p:cNvPr>
              <p:cNvSpPr/>
              <p:nvPr/>
            </p:nvSpPr>
            <p:spPr bwMode="auto">
              <a:xfrm>
                <a:off x="4654415" y="1353410"/>
                <a:ext cx="29417" cy="25214"/>
              </a:xfrm>
              <a:custGeom>
                <a:avLst/>
                <a:gdLst>
                  <a:gd name="T0" fmla="*/ 0 w 14"/>
                  <a:gd name="T1" fmla="*/ 0 h 12"/>
                  <a:gd name="T2" fmla="*/ 14 w 14"/>
                  <a:gd name="T3" fmla="*/ 6 h 12"/>
                  <a:gd name="T4" fmla="*/ 0 w 1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0"/>
                    </a:moveTo>
                    <a:cubicBezTo>
                      <a:pt x="7" y="0"/>
                      <a:pt x="7" y="6"/>
                      <a:pt x="14" y="6"/>
                    </a:cubicBezTo>
                    <a:cubicBezTo>
                      <a:pt x="12" y="12"/>
                      <a:pt x="1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FE949AA3-A845-48C3-932E-2E6C21292A86}"/>
                  </a:ext>
                </a:extLst>
              </p:cNvPr>
              <p:cNvSpPr/>
              <p:nvPr/>
            </p:nvSpPr>
            <p:spPr bwMode="auto">
              <a:xfrm>
                <a:off x="7886021" y="1451465"/>
                <a:ext cx="81245" cy="58833"/>
              </a:xfrm>
              <a:custGeom>
                <a:avLst/>
                <a:gdLst>
                  <a:gd name="T0" fmla="*/ 11 w 39"/>
                  <a:gd name="T1" fmla="*/ 0 h 28"/>
                  <a:gd name="T2" fmla="*/ 13 w 39"/>
                  <a:gd name="T3" fmla="*/ 2 h 28"/>
                  <a:gd name="T4" fmla="*/ 21 w 39"/>
                  <a:gd name="T5" fmla="*/ 9 h 28"/>
                  <a:gd name="T6" fmla="*/ 39 w 39"/>
                  <a:gd name="T7" fmla="*/ 7 h 28"/>
                  <a:gd name="T8" fmla="*/ 32 w 39"/>
                  <a:gd name="T9" fmla="*/ 19 h 28"/>
                  <a:gd name="T10" fmla="*/ 26 w 39"/>
                  <a:gd name="T11" fmla="*/ 17 h 28"/>
                  <a:gd name="T12" fmla="*/ 19 w 39"/>
                  <a:gd name="T13" fmla="*/ 20 h 28"/>
                  <a:gd name="T14" fmla="*/ 17 w 39"/>
                  <a:gd name="T15" fmla="*/ 26 h 28"/>
                  <a:gd name="T16" fmla="*/ 8 w 39"/>
                  <a:gd name="T17" fmla="*/ 22 h 28"/>
                  <a:gd name="T18" fmla="*/ 11 w 39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28">
                    <a:moveTo>
                      <a:pt x="11" y="0"/>
                    </a:moveTo>
                    <a:cubicBezTo>
                      <a:pt x="13" y="0"/>
                      <a:pt x="13" y="1"/>
                      <a:pt x="13" y="2"/>
                    </a:cubicBezTo>
                    <a:cubicBezTo>
                      <a:pt x="13" y="7"/>
                      <a:pt x="20" y="4"/>
                      <a:pt x="21" y="9"/>
                    </a:cubicBezTo>
                    <a:cubicBezTo>
                      <a:pt x="27" y="7"/>
                      <a:pt x="32" y="10"/>
                      <a:pt x="39" y="7"/>
                    </a:cubicBezTo>
                    <a:cubicBezTo>
                      <a:pt x="39" y="13"/>
                      <a:pt x="32" y="13"/>
                      <a:pt x="32" y="19"/>
                    </a:cubicBezTo>
                    <a:cubicBezTo>
                      <a:pt x="29" y="19"/>
                      <a:pt x="29" y="17"/>
                      <a:pt x="26" y="17"/>
                    </a:cubicBezTo>
                    <a:cubicBezTo>
                      <a:pt x="22" y="16"/>
                      <a:pt x="20" y="25"/>
                      <a:pt x="19" y="20"/>
                    </a:cubicBezTo>
                    <a:cubicBezTo>
                      <a:pt x="17" y="21"/>
                      <a:pt x="17" y="24"/>
                      <a:pt x="17" y="26"/>
                    </a:cubicBezTo>
                    <a:cubicBezTo>
                      <a:pt x="12" y="28"/>
                      <a:pt x="12" y="15"/>
                      <a:pt x="8" y="22"/>
                    </a:cubicBezTo>
                    <a:cubicBezTo>
                      <a:pt x="0" y="17"/>
                      <a:pt x="6" y="3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F3BE6B4-CC4E-444F-89D1-34D83FD9A140}"/>
                  </a:ext>
                </a:extLst>
              </p:cNvPr>
              <p:cNvSpPr/>
              <p:nvPr/>
            </p:nvSpPr>
            <p:spPr bwMode="auto">
              <a:xfrm>
                <a:off x="7743141" y="1520103"/>
                <a:ext cx="156888" cy="137277"/>
              </a:xfrm>
              <a:custGeom>
                <a:avLst/>
                <a:gdLst>
                  <a:gd name="T0" fmla="*/ 67 w 76"/>
                  <a:gd name="T1" fmla="*/ 0 h 66"/>
                  <a:gd name="T2" fmla="*/ 73 w 76"/>
                  <a:gd name="T3" fmla="*/ 2 h 66"/>
                  <a:gd name="T4" fmla="*/ 73 w 76"/>
                  <a:gd name="T5" fmla="*/ 30 h 66"/>
                  <a:gd name="T6" fmla="*/ 71 w 76"/>
                  <a:gd name="T7" fmla="*/ 27 h 66"/>
                  <a:gd name="T8" fmla="*/ 71 w 76"/>
                  <a:gd name="T9" fmla="*/ 38 h 66"/>
                  <a:gd name="T10" fmla="*/ 67 w 76"/>
                  <a:gd name="T11" fmla="*/ 36 h 66"/>
                  <a:gd name="T12" fmla="*/ 67 w 76"/>
                  <a:gd name="T13" fmla="*/ 55 h 66"/>
                  <a:gd name="T14" fmla="*/ 64 w 76"/>
                  <a:gd name="T15" fmla="*/ 53 h 66"/>
                  <a:gd name="T16" fmla="*/ 58 w 76"/>
                  <a:gd name="T17" fmla="*/ 56 h 66"/>
                  <a:gd name="T18" fmla="*/ 54 w 76"/>
                  <a:gd name="T19" fmla="*/ 55 h 66"/>
                  <a:gd name="T20" fmla="*/ 47 w 76"/>
                  <a:gd name="T21" fmla="*/ 56 h 66"/>
                  <a:gd name="T22" fmla="*/ 37 w 76"/>
                  <a:gd name="T23" fmla="*/ 58 h 66"/>
                  <a:gd name="T24" fmla="*/ 34 w 76"/>
                  <a:gd name="T25" fmla="*/ 66 h 66"/>
                  <a:gd name="T26" fmla="*/ 26 w 76"/>
                  <a:gd name="T27" fmla="*/ 56 h 66"/>
                  <a:gd name="T28" fmla="*/ 23 w 76"/>
                  <a:gd name="T29" fmla="*/ 60 h 66"/>
                  <a:gd name="T30" fmla="*/ 19 w 76"/>
                  <a:gd name="T31" fmla="*/ 58 h 66"/>
                  <a:gd name="T32" fmla="*/ 0 w 76"/>
                  <a:gd name="T33" fmla="*/ 62 h 66"/>
                  <a:gd name="T34" fmla="*/ 2 w 76"/>
                  <a:gd name="T35" fmla="*/ 55 h 66"/>
                  <a:gd name="T36" fmla="*/ 6 w 76"/>
                  <a:gd name="T37" fmla="*/ 56 h 66"/>
                  <a:gd name="T38" fmla="*/ 8 w 76"/>
                  <a:gd name="T39" fmla="*/ 53 h 66"/>
                  <a:gd name="T40" fmla="*/ 34 w 76"/>
                  <a:gd name="T41" fmla="*/ 51 h 66"/>
                  <a:gd name="T42" fmla="*/ 37 w 76"/>
                  <a:gd name="T43" fmla="*/ 38 h 66"/>
                  <a:gd name="T44" fmla="*/ 41 w 76"/>
                  <a:gd name="T45" fmla="*/ 34 h 66"/>
                  <a:gd name="T46" fmla="*/ 52 w 76"/>
                  <a:gd name="T47" fmla="*/ 36 h 66"/>
                  <a:gd name="T48" fmla="*/ 52 w 76"/>
                  <a:gd name="T49" fmla="*/ 28 h 66"/>
                  <a:gd name="T50" fmla="*/ 54 w 76"/>
                  <a:gd name="T51" fmla="*/ 32 h 66"/>
                  <a:gd name="T52" fmla="*/ 56 w 76"/>
                  <a:gd name="T53" fmla="*/ 23 h 66"/>
                  <a:gd name="T54" fmla="*/ 62 w 76"/>
                  <a:gd name="T55" fmla="*/ 8 h 66"/>
                  <a:gd name="T56" fmla="*/ 67 w 76"/>
                  <a:gd name="T5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6" h="66">
                    <a:moveTo>
                      <a:pt x="67" y="0"/>
                    </a:moveTo>
                    <a:cubicBezTo>
                      <a:pt x="70" y="0"/>
                      <a:pt x="70" y="2"/>
                      <a:pt x="73" y="2"/>
                    </a:cubicBezTo>
                    <a:cubicBezTo>
                      <a:pt x="73" y="16"/>
                      <a:pt x="76" y="22"/>
                      <a:pt x="73" y="30"/>
                    </a:cubicBezTo>
                    <a:cubicBezTo>
                      <a:pt x="71" y="30"/>
                      <a:pt x="71" y="28"/>
                      <a:pt x="71" y="27"/>
                    </a:cubicBezTo>
                    <a:cubicBezTo>
                      <a:pt x="66" y="28"/>
                      <a:pt x="71" y="34"/>
                      <a:pt x="71" y="38"/>
                    </a:cubicBezTo>
                    <a:cubicBezTo>
                      <a:pt x="69" y="37"/>
                      <a:pt x="69" y="36"/>
                      <a:pt x="67" y="36"/>
                    </a:cubicBezTo>
                    <a:cubicBezTo>
                      <a:pt x="67" y="42"/>
                      <a:pt x="67" y="48"/>
                      <a:pt x="67" y="55"/>
                    </a:cubicBezTo>
                    <a:cubicBezTo>
                      <a:pt x="66" y="54"/>
                      <a:pt x="65" y="53"/>
                      <a:pt x="64" y="53"/>
                    </a:cubicBezTo>
                    <a:cubicBezTo>
                      <a:pt x="60" y="51"/>
                      <a:pt x="59" y="56"/>
                      <a:pt x="58" y="56"/>
                    </a:cubicBezTo>
                    <a:cubicBezTo>
                      <a:pt x="57" y="57"/>
                      <a:pt x="56" y="55"/>
                      <a:pt x="54" y="55"/>
                    </a:cubicBezTo>
                    <a:cubicBezTo>
                      <a:pt x="54" y="54"/>
                      <a:pt x="49" y="56"/>
                      <a:pt x="47" y="56"/>
                    </a:cubicBezTo>
                    <a:cubicBezTo>
                      <a:pt x="46" y="57"/>
                      <a:pt x="42" y="59"/>
                      <a:pt x="37" y="58"/>
                    </a:cubicBezTo>
                    <a:cubicBezTo>
                      <a:pt x="34" y="58"/>
                      <a:pt x="36" y="65"/>
                      <a:pt x="34" y="66"/>
                    </a:cubicBezTo>
                    <a:cubicBezTo>
                      <a:pt x="30" y="64"/>
                      <a:pt x="26" y="62"/>
                      <a:pt x="26" y="56"/>
                    </a:cubicBezTo>
                    <a:cubicBezTo>
                      <a:pt x="23" y="54"/>
                      <a:pt x="23" y="60"/>
                      <a:pt x="23" y="60"/>
                    </a:cubicBezTo>
                    <a:cubicBezTo>
                      <a:pt x="20" y="61"/>
                      <a:pt x="19" y="58"/>
                      <a:pt x="19" y="58"/>
                    </a:cubicBezTo>
                    <a:cubicBezTo>
                      <a:pt x="12" y="59"/>
                      <a:pt x="5" y="65"/>
                      <a:pt x="0" y="62"/>
                    </a:cubicBezTo>
                    <a:cubicBezTo>
                      <a:pt x="2" y="60"/>
                      <a:pt x="2" y="58"/>
                      <a:pt x="2" y="55"/>
                    </a:cubicBezTo>
                    <a:cubicBezTo>
                      <a:pt x="4" y="53"/>
                      <a:pt x="6" y="56"/>
                      <a:pt x="6" y="56"/>
                    </a:cubicBezTo>
                    <a:cubicBezTo>
                      <a:pt x="8" y="56"/>
                      <a:pt x="7" y="53"/>
                      <a:pt x="8" y="53"/>
                    </a:cubicBezTo>
                    <a:cubicBezTo>
                      <a:pt x="14" y="52"/>
                      <a:pt x="26" y="54"/>
                      <a:pt x="34" y="51"/>
                    </a:cubicBezTo>
                    <a:cubicBezTo>
                      <a:pt x="31" y="42"/>
                      <a:pt x="39" y="45"/>
                      <a:pt x="37" y="38"/>
                    </a:cubicBezTo>
                    <a:cubicBezTo>
                      <a:pt x="41" y="40"/>
                      <a:pt x="42" y="39"/>
                      <a:pt x="41" y="34"/>
                    </a:cubicBezTo>
                    <a:cubicBezTo>
                      <a:pt x="45" y="38"/>
                      <a:pt x="49" y="31"/>
                      <a:pt x="52" y="36"/>
                    </a:cubicBezTo>
                    <a:cubicBezTo>
                      <a:pt x="53" y="35"/>
                      <a:pt x="51" y="29"/>
                      <a:pt x="52" y="28"/>
                    </a:cubicBezTo>
                    <a:cubicBezTo>
                      <a:pt x="54" y="27"/>
                      <a:pt x="54" y="32"/>
                      <a:pt x="54" y="32"/>
                    </a:cubicBezTo>
                    <a:cubicBezTo>
                      <a:pt x="56" y="33"/>
                      <a:pt x="60" y="31"/>
                      <a:pt x="56" y="23"/>
                    </a:cubicBezTo>
                    <a:cubicBezTo>
                      <a:pt x="63" y="21"/>
                      <a:pt x="59" y="13"/>
                      <a:pt x="62" y="8"/>
                    </a:cubicBezTo>
                    <a:cubicBezTo>
                      <a:pt x="63" y="5"/>
                      <a:pt x="70" y="5"/>
                      <a:pt x="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E87B46D7-4D8E-4A03-9A68-DD75694DC8E4}"/>
                  </a:ext>
                </a:extLst>
              </p:cNvPr>
              <p:cNvSpPr/>
              <p:nvPr/>
            </p:nvSpPr>
            <p:spPr bwMode="auto">
              <a:xfrm>
                <a:off x="5794652" y="1528507"/>
                <a:ext cx="28016" cy="30817"/>
              </a:xfrm>
              <a:custGeom>
                <a:avLst/>
                <a:gdLst>
                  <a:gd name="T0" fmla="*/ 4 w 13"/>
                  <a:gd name="T1" fmla="*/ 0 h 15"/>
                  <a:gd name="T2" fmla="*/ 0 w 13"/>
                  <a:gd name="T3" fmla="*/ 13 h 15"/>
                  <a:gd name="T4" fmla="*/ 4 w 13"/>
                  <a:gd name="T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5">
                    <a:moveTo>
                      <a:pt x="4" y="0"/>
                    </a:moveTo>
                    <a:cubicBezTo>
                      <a:pt x="13" y="0"/>
                      <a:pt x="10" y="15"/>
                      <a:pt x="0" y="13"/>
                    </a:cubicBezTo>
                    <a:cubicBezTo>
                      <a:pt x="4" y="12"/>
                      <a:pt x="0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9B49600-1CF4-45D8-8463-5197F9C4C9FF}"/>
                  </a:ext>
                </a:extLst>
              </p:cNvPr>
              <p:cNvSpPr/>
              <p:nvPr/>
            </p:nvSpPr>
            <p:spPr bwMode="auto">
              <a:xfrm>
                <a:off x="5861890" y="1571932"/>
                <a:ext cx="39222" cy="29417"/>
              </a:xfrm>
              <a:custGeom>
                <a:avLst/>
                <a:gdLst>
                  <a:gd name="T0" fmla="*/ 15 w 19"/>
                  <a:gd name="T1" fmla="*/ 3 h 14"/>
                  <a:gd name="T2" fmla="*/ 19 w 19"/>
                  <a:gd name="T3" fmla="*/ 13 h 14"/>
                  <a:gd name="T4" fmla="*/ 9 w 19"/>
                  <a:gd name="T5" fmla="*/ 13 h 14"/>
                  <a:gd name="T6" fmla="*/ 9 w 19"/>
                  <a:gd name="T7" fmla="*/ 11 h 14"/>
                  <a:gd name="T8" fmla="*/ 2 w 19"/>
                  <a:gd name="T9" fmla="*/ 9 h 14"/>
                  <a:gd name="T10" fmla="*/ 15 w 19"/>
                  <a:gd name="T11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4">
                    <a:moveTo>
                      <a:pt x="15" y="3"/>
                    </a:moveTo>
                    <a:cubicBezTo>
                      <a:pt x="18" y="5"/>
                      <a:pt x="19" y="8"/>
                      <a:pt x="19" y="13"/>
                    </a:cubicBezTo>
                    <a:cubicBezTo>
                      <a:pt x="17" y="12"/>
                      <a:pt x="11" y="14"/>
                      <a:pt x="9" y="13"/>
                    </a:cubicBezTo>
                    <a:cubicBezTo>
                      <a:pt x="9" y="13"/>
                      <a:pt x="10" y="11"/>
                      <a:pt x="9" y="11"/>
                    </a:cubicBezTo>
                    <a:cubicBezTo>
                      <a:pt x="7" y="10"/>
                      <a:pt x="2" y="12"/>
                      <a:pt x="2" y="9"/>
                    </a:cubicBezTo>
                    <a:cubicBezTo>
                      <a:pt x="0" y="0"/>
                      <a:pt x="15" y="9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3B62B532-63DE-49A9-8D77-554C1E1915DC}"/>
                  </a:ext>
                </a:extLst>
              </p:cNvPr>
              <p:cNvSpPr/>
              <p:nvPr/>
            </p:nvSpPr>
            <p:spPr bwMode="auto">
              <a:xfrm>
                <a:off x="6175665" y="1627963"/>
                <a:ext cx="29417" cy="15409"/>
              </a:xfrm>
              <a:custGeom>
                <a:avLst/>
                <a:gdLst>
                  <a:gd name="T0" fmla="*/ 0 w 14"/>
                  <a:gd name="T1" fmla="*/ 6 h 7"/>
                  <a:gd name="T2" fmla="*/ 8 w 14"/>
                  <a:gd name="T3" fmla="*/ 1 h 7"/>
                  <a:gd name="T4" fmla="*/ 6 w 14"/>
                  <a:gd name="T5" fmla="*/ 3 h 7"/>
                  <a:gd name="T6" fmla="*/ 0 w 14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7">
                    <a:moveTo>
                      <a:pt x="0" y="6"/>
                    </a:moveTo>
                    <a:cubicBezTo>
                      <a:pt x="0" y="1"/>
                      <a:pt x="3" y="0"/>
                      <a:pt x="8" y="1"/>
                    </a:cubicBezTo>
                    <a:cubicBezTo>
                      <a:pt x="14" y="0"/>
                      <a:pt x="10" y="4"/>
                      <a:pt x="6" y="3"/>
                    </a:cubicBezTo>
                    <a:cubicBezTo>
                      <a:pt x="4" y="4"/>
                      <a:pt x="4" y="7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3CB17618-8F69-4EF6-8355-A534C8780DF0}"/>
                  </a:ext>
                </a:extLst>
              </p:cNvPr>
              <p:cNvSpPr/>
              <p:nvPr/>
            </p:nvSpPr>
            <p:spPr bwMode="auto">
              <a:xfrm>
                <a:off x="7757148" y="1651776"/>
                <a:ext cx="29417" cy="18211"/>
              </a:xfrm>
              <a:custGeom>
                <a:avLst/>
                <a:gdLst>
                  <a:gd name="T0" fmla="*/ 12 w 14"/>
                  <a:gd name="T1" fmla="*/ 1 h 9"/>
                  <a:gd name="T2" fmla="*/ 8 w 14"/>
                  <a:gd name="T3" fmla="*/ 8 h 9"/>
                  <a:gd name="T4" fmla="*/ 1 w 14"/>
                  <a:gd name="T5" fmla="*/ 3 h 9"/>
                  <a:gd name="T6" fmla="*/ 12 w 14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2" y="1"/>
                    </a:moveTo>
                    <a:cubicBezTo>
                      <a:pt x="14" y="7"/>
                      <a:pt x="6" y="2"/>
                      <a:pt x="8" y="8"/>
                    </a:cubicBezTo>
                    <a:cubicBezTo>
                      <a:pt x="3" y="9"/>
                      <a:pt x="0" y="8"/>
                      <a:pt x="1" y="3"/>
                    </a:cubicBezTo>
                    <a:cubicBezTo>
                      <a:pt x="5" y="8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E45CBD6-6A04-40E2-96C3-C254D06DA4B7}"/>
                  </a:ext>
                </a:extLst>
              </p:cNvPr>
              <p:cNvSpPr/>
              <p:nvPr/>
            </p:nvSpPr>
            <p:spPr bwMode="auto">
              <a:xfrm>
                <a:off x="7706721" y="1653177"/>
                <a:ext cx="42023" cy="43425"/>
              </a:xfrm>
              <a:custGeom>
                <a:avLst/>
                <a:gdLst>
                  <a:gd name="T0" fmla="*/ 17 w 20"/>
                  <a:gd name="T1" fmla="*/ 4 h 21"/>
                  <a:gd name="T2" fmla="*/ 17 w 20"/>
                  <a:gd name="T3" fmla="*/ 17 h 21"/>
                  <a:gd name="T4" fmla="*/ 6 w 20"/>
                  <a:gd name="T5" fmla="*/ 18 h 21"/>
                  <a:gd name="T6" fmla="*/ 0 w 20"/>
                  <a:gd name="T7" fmla="*/ 11 h 21"/>
                  <a:gd name="T8" fmla="*/ 17 w 20"/>
                  <a:gd name="T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1">
                    <a:moveTo>
                      <a:pt x="17" y="4"/>
                    </a:moveTo>
                    <a:cubicBezTo>
                      <a:pt x="20" y="9"/>
                      <a:pt x="12" y="14"/>
                      <a:pt x="17" y="17"/>
                    </a:cubicBezTo>
                    <a:cubicBezTo>
                      <a:pt x="17" y="21"/>
                      <a:pt x="9" y="17"/>
                      <a:pt x="6" y="18"/>
                    </a:cubicBezTo>
                    <a:cubicBezTo>
                      <a:pt x="6" y="11"/>
                      <a:pt x="7" y="8"/>
                      <a:pt x="0" y="11"/>
                    </a:cubicBezTo>
                    <a:cubicBezTo>
                      <a:pt x="0" y="2"/>
                      <a:pt x="10" y="0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04F8BE9-4A7B-4EE7-92E7-44FA39FFA868}"/>
                  </a:ext>
                </a:extLst>
              </p:cNvPr>
              <p:cNvSpPr/>
              <p:nvPr/>
            </p:nvSpPr>
            <p:spPr bwMode="auto">
              <a:xfrm>
                <a:off x="7561039" y="1807263"/>
                <a:ext cx="25214" cy="39222"/>
              </a:xfrm>
              <a:custGeom>
                <a:avLst/>
                <a:gdLst>
                  <a:gd name="T0" fmla="*/ 11 w 12"/>
                  <a:gd name="T1" fmla="*/ 8 h 19"/>
                  <a:gd name="T2" fmla="*/ 7 w 12"/>
                  <a:gd name="T3" fmla="*/ 19 h 19"/>
                  <a:gd name="T4" fmla="*/ 0 w 12"/>
                  <a:gd name="T5" fmla="*/ 19 h 19"/>
                  <a:gd name="T6" fmla="*/ 1 w 12"/>
                  <a:gd name="T7" fmla="*/ 6 h 19"/>
                  <a:gd name="T8" fmla="*/ 11 w 12"/>
                  <a:gd name="T9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9">
                    <a:moveTo>
                      <a:pt x="11" y="8"/>
                    </a:moveTo>
                    <a:cubicBezTo>
                      <a:pt x="11" y="13"/>
                      <a:pt x="4" y="11"/>
                      <a:pt x="7" y="19"/>
                    </a:cubicBezTo>
                    <a:cubicBezTo>
                      <a:pt x="5" y="19"/>
                      <a:pt x="2" y="19"/>
                      <a:pt x="0" y="19"/>
                    </a:cubicBezTo>
                    <a:cubicBezTo>
                      <a:pt x="0" y="16"/>
                      <a:pt x="6" y="9"/>
                      <a:pt x="1" y="6"/>
                    </a:cubicBezTo>
                    <a:cubicBezTo>
                      <a:pt x="3" y="2"/>
                      <a:pt x="12" y="0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295198C-C66A-4FD2-8052-C371B0730631}"/>
                  </a:ext>
                </a:extLst>
              </p:cNvPr>
              <p:cNvSpPr/>
              <p:nvPr/>
            </p:nvSpPr>
            <p:spPr bwMode="auto">
              <a:xfrm>
                <a:off x="3912001" y="1825473"/>
                <a:ext cx="16809" cy="12607"/>
              </a:xfrm>
              <a:custGeom>
                <a:avLst/>
                <a:gdLst>
                  <a:gd name="T0" fmla="*/ 0 w 8"/>
                  <a:gd name="T1" fmla="*/ 3 h 6"/>
                  <a:gd name="T2" fmla="*/ 7 w 8"/>
                  <a:gd name="T3" fmla="*/ 1 h 6"/>
                  <a:gd name="T4" fmla="*/ 5 w 8"/>
                  <a:gd name="T5" fmla="*/ 6 h 6"/>
                  <a:gd name="T6" fmla="*/ 1 w 8"/>
                  <a:gd name="T7" fmla="*/ 6 h 6"/>
                  <a:gd name="T8" fmla="*/ 0 w 8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3"/>
                    </a:moveTo>
                    <a:cubicBezTo>
                      <a:pt x="0" y="0"/>
                      <a:pt x="4" y="1"/>
                      <a:pt x="7" y="1"/>
                    </a:cubicBezTo>
                    <a:cubicBezTo>
                      <a:pt x="8" y="4"/>
                      <a:pt x="5" y="4"/>
                      <a:pt x="5" y="6"/>
                    </a:cubicBezTo>
                    <a:cubicBezTo>
                      <a:pt x="4" y="6"/>
                      <a:pt x="3" y="6"/>
                      <a:pt x="1" y="6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C3637D21-353C-4798-B222-A0FF5045B43F}"/>
                  </a:ext>
                </a:extLst>
              </p:cNvPr>
              <p:cNvSpPr/>
              <p:nvPr/>
            </p:nvSpPr>
            <p:spPr bwMode="auto">
              <a:xfrm>
                <a:off x="4322430" y="1838081"/>
                <a:ext cx="158289" cy="63036"/>
              </a:xfrm>
              <a:custGeom>
                <a:avLst/>
                <a:gdLst>
                  <a:gd name="T0" fmla="*/ 75 w 76"/>
                  <a:gd name="T1" fmla="*/ 21 h 30"/>
                  <a:gd name="T2" fmla="*/ 58 w 76"/>
                  <a:gd name="T3" fmla="*/ 26 h 30"/>
                  <a:gd name="T4" fmla="*/ 54 w 76"/>
                  <a:gd name="T5" fmla="*/ 17 h 30"/>
                  <a:gd name="T6" fmla="*/ 34 w 76"/>
                  <a:gd name="T7" fmla="*/ 13 h 30"/>
                  <a:gd name="T8" fmla="*/ 32 w 76"/>
                  <a:gd name="T9" fmla="*/ 8 h 30"/>
                  <a:gd name="T10" fmla="*/ 13 w 76"/>
                  <a:gd name="T11" fmla="*/ 8 h 30"/>
                  <a:gd name="T12" fmla="*/ 0 w 76"/>
                  <a:gd name="T13" fmla="*/ 11 h 30"/>
                  <a:gd name="T14" fmla="*/ 8 w 76"/>
                  <a:gd name="T15" fmla="*/ 2 h 30"/>
                  <a:gd name="T16" fmla="*/ 24 w 76"/>
                  <a:gd name="T17" fmla="*/ 0 h 30"/>
                  <a:gd name="T18" fmla="*/ 30 w 76"/>
                  <a:gd name="T19" fmla="*/ 4 h 30"/>
                  <a:gd name="T20" fmla="*/ 36 w 76"/>
                  <a:gd name="T21" fmla="*/ 6 h 30"/>
                  <a:gd name="T22" fmla="*/ 50 w 76"/>
                  <a:gd name="T23" fmla="*/ 8 h 30"/>
                  <a:gd name="T24" fmla="*/ 56 w 76"/>
                  <a:gd name="T25" fmla="*/ 17 h 30"/>
                  <a:gd name="T26" fmla="*/ 62 w 76"/>
                  <a:gd name="T27" fmla="*/ 19 h 30"/>
                  <a:gd name="T28" fmla="*/ 75 w 76"/>
                  <a:gd name="T29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30">
                    <a:moveTo>
                      <a:pt x="75" y="21"/>
                    </a:moveTo>
                    <a:cubicBezTo>
                      <a:pt x="76" y="30"/>
                      <a:pt x="59" y="20"/>
                      <a:pt x="58" y="26"/>
                    </a:cubicBezTo>
                    <a:cubicBezTo>
                      <a:pt x="54" y="26"/>
                      <a:pt x="57" y="18"/>
                      <a:pt x="54" y="17"/>
                    </a:cubicBezTo>
                    <a:cubicBezTo>
                      <a:pt x="48" y="15"/>
                      <a:pt x="41" y="15"/>
                      <a:pt x="34" y="13"/>
                    </a:cubicBezTo>
                    <a:cubicBezTo>
                      <a:pt x="33" y="12"/>
                      <a:pt x="32" y="10"/>
                      <a:pt x="32" y="8"/>
                    </a:cubicBezTo>
                    <a:cubicBezTo>
                      <a:pt x="24" y="8"/>
                      <a:pt x="19" y="7"/>
                      <a:pt x="13" y="8"/>
                    </a:cubicBezTo>
                    <a:cubicBezTo>
                      <a:pt x="9" y="8"/>
                      <a:pt x="5" y="13"/>
                      <a:pt x="0" y="11"/>
                    </a:cubicBezTo>
                    <a:cubicBezTo>
                      <a:pt x="0" y="6"/>
                      <a:pt x="8" y="8"/>
                      <a:pt x="8" y="2"/>
                    </a:cubicBezTo>
                    <a:cubicBezTo>
                      <a:pt x="13" y="1"/>
                      <a:pt x="22" y="4"/>
                      <a:pt x="24" y="0"/>
                    </a:cubicBezTo>
                    <a:cubicBezTo>
                      <a:pt x="33" y="2"/>
                      <a:pt x="22" y="2"/>
                      <a:pt x="30" y="4"/>
                    </a:cubicBezTo>
                    <a:cubicBezTo>
                      <a:pt x="30" y="4"/>
                      <a:pt x="35" y="6"/>
                      <a:pt x="36" y="6"/>
                    </a:cubicBezTo>
                    <a:cubicBezTo>
                      <a:pt x="37" y="8"/>
                      <a:pt x="43" y="8"/>
                      <a:pt x="50" y="8"/>
                    </a:cubicBezTo>
                    <a:cubicBezTo>
                      <a:pt x="49" y="14"/>
                      <a:pt x="60" y="9"/>
                      <a:pt x="56" y="17"/>
                    </a:cubicBezTo>
                    <a:cubicBezTo>
                      <a:pt x="59" y="15"/>
                      <a:pt x="61" y="15"/>
                      <a:pt x="62" y="19"/>
                    </a:cubicBezTo>
                    <a:cubicBezTo>
                      <a:pt x="66" y="20"/>
                      <a:pt x="74" y="17"/>
                      <a:pt x="75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AAFE4786-A674-46E6-9FDE-680962A00AB5}"/>
                  </a:ext>
                </a:extLst>
              </p:cNvPr>
              <p:cNvSpPr/>
              <p:nvPr/>
            </p:nvSpPr>
            <p:spPr bwMode="auto">
              <a:xfrm>
                <a:off x="4508734" y="1892711"/>
                <a:ext cx="64436" cy="35020"/>
              </a:xfrm>
              <a:custGeom>
                <a:avLst/>
                <a:gdLst>
                  <a:gd name="T0" fmla="*/ 1 w 31"/>
                  <a:gd name="T1" fmla="*/ 0 h 17"/>
                  <a:gd name="T2" fmla="*/ 16 w 31"/>
                  <a:gd name="T3" fmla="*/ 2 h 17"/>
                  <a:gd name="T4" fmla="*/ 24 w 31"/>
                  <a:gd name="T5" fmla="*/ 4 h 17"/>
                  <a:gd name="T6" fmla="*/ 31 w 31"/>
                  <a:gd name="T7" fmla="*/ 8 h 17"/>
                  <a:gd name="T8" fmla="*/ 5 w 31"/>
                  <a:gd name="T9" fmla="*/ 12 h 17"/>
                  <a:gd name="T10" fmla="*/ 9 w 31"/>
                  <a:gd name="T11" fmla="*/ 10 h 17"/>
                  <a:gd name="T12" fmla="*/ 1 w 31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7">
                    <a:moveTo>
                      <a:pt x="1" y="0"/>
                    </a:moveTo>
                    <a:cubicBezTo>
                      <a:pt x="5" y="3"/>
                      <a:pt x="12" y="1"/>
                      <a:pt x="16" y="2"/>
                    </a:cubicBezTo>
                    <a:cubicBezTo>
                      <a:pt x="17" y="2"/>
                      <a:pt x="22" y="9"/>
                      <a:pt x="24" y="4"/>
                    </a:cubicBezTo>
                    <a:cubicBezTo>
                      <a:pt x="27" y="5"/>
                      <a:pt x="25" y="10"/>
                      <a:pt x="31" y="8"/>
                    </a:cubicBezTo>
                    <a:cubicBezTo>
                      <a:pt x="31" y="17"/>
                      <a:pt x="11" y="13"/>
                      <a:pt x="5" y="12"/>
                    </a:cubicBezTo>
                    <a:cubicBezTo>
                      <a:pt x="4" y="10"/>
                      <a:pt x="9" y="10"/>
                      <a:pt x="9" y="10"/>
                    </a:cubicBezTo>
                    <a:cubicBezTo>
                      <a:pt x="9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D8E79DE5-4618-4585-8153-7B82C58AB89C}"/>
                  </a:ext>
                </a:extLst>
              </p:cNvPr>
              <p:cNvSpPr/>
              <p:nvPr/>
            </p:nvSpPr>
            <p:spPr bwMode="auto">
              <a:xfrm>
                <a:off x="7378938" y="1896914"/>
                <a:ext cx="30817" cy="22413"/>
              </a:xfrm>
              <a:custGeom>
                <a:avLst/>
                <a:gdLst>
                  <a:gd name="T0" fmla="*/ 13 w 15"/>
                  <a:gd name="T1" fmla="*/ 0 h 11"/>
                  <a:gd name="T2" fmla="*/ 9 w 15"/>
                  <a:gd name="T3" fmla="*/ 11 h 11"/>
                  <a:gd name="T4" fmla="*/ 0 w 15"/>
                  <a:gd name="T5" fmla="*/ 4 h 11"/>
                  <a:gd name="T6" fmla="*/ 4 w 15"/>
                  <a:gd name="T7" fmla="*/ 0 h 11"/>
                  <a:gd name="T8" fmla="*/ 13 w 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13" y="0"/>
                    </a:moveTo>
                    <a:cubicBezTo>
                      <a:pt x="15" y="7"/>
                      <a:pt x="8" y="6"/>
                      <a:pt x="9" y="11"/>
                    </a:cubicBezTo>
                    <a:cubicBezTo>
                      <a:pt x="5" y="10"/>
                      <a:pt x="0" y="10"/>
                      <a:pt x="0" y="4"/>
                    </a:cubicBezTo>
                    <a:cubicBezTo>
                      <a:pt x="3" y="5"/>
                      <a:pt x="3" y="2"/>
                      <a:pt x="4" y="0"/>
                    </a:cubicBezTo>
                    <a:cubicBezTo>
                      <a:pt x="7" y="0"/>
                      <a:pt x="10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5E92CF99-9A0E-4827-B9E2-2E9E4529E0B5}"/>
                  </a:ext>
                </a:extLst>
              </p:cNvPr>
              <p:cNvSpPr/>
              <p:nvPr/>
            </p:nvSpPr>
            <p:spPr bwMode="auto">
              <a:xfrm>
                <a:off x="4484921" y="1905318"/>
                <a:ext cx="23814" cy="18211"/>
              </a:xfrm>
              <a:custGeom>
                <a:avLst/>
                <a:gdLst>
                  <a:gd name="T0" fmla="*/ 10 w 12"/>
                  <a:gd name="T1" fmla="*/ 9 h 9"/>
                  <a:gd name="T2" fmla="*/ 0 w 12"/>
                  <a:gd name="T3" fmla="*/ 7 h 9"/>
                  <a:gd name="T4" fmla="*/ 10 w 1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10" y="9"/>
                    </a:moveTo>
                    <a:cubicBezTo>
                      <a:pt x="8" y="8"/>
                      <a:pt x="5" y="7"/>
                      <a:pt x="0" y="7"/>
                    </a:cubicBezTo>
                    <a:cubicBezTo>
                      <a:pt x="1" y="4"/>
                      <a:pt x="12" y="0"/>
                      <a:pt x="1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A375AD30-AACB-4990-8C12-B0048A7BE211}"/>
                  </a:ext>
                </a:extLst>
              </p:cNvPr>
              <p:cNvSpPr/>
              <p:nvPr/>
            </p:nvSpPr>
            <p:spPr bwMode="auto">
              <a:xfrm>
                <a:off x="4420485" y="1910921"/>
                <a:ext cx="30817" cy="19611"/>
              </a:xfrm>
              <a:custGeom>
                <a:avLst/>
                <a:gdLst>
                  <a:gd name="T0" fmla="*/ 2 w 15"/>
                  <a:gd name="T1" fmla="*/ 3 h 9"/>
                  <a:gd name="T2" fmla="*/ 13 w 15"/>
                  <a:gd name="T3" fmla="*/ 6 h 9"/>
                  <a:gd name="T4" fmla="*/ 2 w 15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9">
                    <a:moveTo>
                      <a:pt x="2" y="3"/>
                    </a:moveTo>
                    <a:cubicBezTo>
                      <a:pt x="5" y="4"/>
                      <a:pt x="15" y="0"/>
                      <a:pt x="13" y="6"/>
                    </a:cubicBezTo>
                    <a:cubicBezTo>
                      <a:pt x="9" y="5"/>
                      <a:pt x="0" y="9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7A1285B1-4842-475C-8C6A-6E5F0C8A15D6}"/>
                  </a:ext>
                </a:extLst>
              </p:cNvPr>
              <p:cNvSpPr/>
              <p:nvPr/>
            </p:nvSpPr>
            <p:spPr bwMode="auto">
              <a:xfrm>
                <a:off x="7551233" y="1919326"/>
                <a:ext cx="43425" cy="77043"/>
              </a:xfrm>
              <a:custGeom>
                <a:avLst/>
                <a:gdLst>
                  <a:gd name="T0" fmla="*/ 10 w 21"/>
                  <a:gd name="T1" fmla="*/ 0 h 37"/>
                  <a:gd name="T2" fmla="*/ 18 w 21"/>
                  <a:gd name="T3" fmla="*/ 0 h 37"/>
                  <a:gd name="T4" fmla="*/ 21 w 21"/>
                  <a:gd name="T5" fmla="*/ 13 h 37"/>
                  <a:gd name="T6" fmla="*/ 16 w 21"/>
                  <a:gd name="T7" fmla="*/ 19 h 37"/>
                  <a:gd name="T8" fmla="*/ 14 w 21"/>
                  <a:gd name="T9" fmla="*/ 25 h 37"/>
                  <a:gd name="T10" fmla="*/ 12 w 21"/>
                  <a:gd name="T11" fmla="*/ 34 h 37"/>
                  <a:gd name="T12" fmla="*/ 6 w 21"/>
                  <a:gd name="T13" fmla="*/ 28 h 37"/>
                  <a:gd name="T14" fmla="*/ 1 w 21"/>
                  <a:gd name="T15" fmla="*/ 21 h 37"/>
                  <a:gd name="T16" fmla="*/ 5 w 21"/>
                  <a:gd name="T17" fmla="*/ 10 h 37"/>
                  <a:gd name="T18" fmla="*/ 10 w 21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7">
                    <a:moveTo>
                      <a:pt x="10" y="0"/>
                    </a:moveTo>
                    <a:cubicBezTo>
                      <a:pt x="13" y="0"/>
                      <a:pt x="15" y="0"/>
                      <a:pt x="18" y="0"/>
                    </a:cubicBezTo>
                    <a:cubicBezTo>
                      <a:pt x="20" y="4"/>
                      <a:pt x="20" y="9"/>
                      <a:pt x="21" y="13"/>
                    </a:cubicBezTo>
                    <a:cubicBezTo>
                      <a:pt x="18" y="14"/>
                      <a:pt x="20" y="20"/>
                      <a:pt x="16" y="19"/>
                    </a:cubicBezTo>
                    <a:cubicBezTo>
                      <a:pt x="16" y="22"/>
                      <a:pt x="16" y="24"/>
                      <a:pt x="14" y="25"/>
                    </a:cubicBezTo>
                    <a:cubicBezTo>
                      <a:pt x="13" y="27"/>
                      <a:pt x="16" y="34"/>
                      <a:pt x="12" y="34"/>
                    </a:cubicBezTo>
                    <a:cubicBezTo>
                      <a:pt x="6" y="37"/>
                      <a:pt x="11" y="29"/>
                      <a:pt x="6" y="28"/>
                    </a:cubicBezTo>
                    <a:cubicBezTo>
                      <a:pt x="4" y="28"/>
                      <a:pt x="3" y="23"/>
                      <a:pt x="1" y="21"/>
                    </a:cubicBezTo>
                    <a:cubicBezTo>
                      <a:pt x="0" y="16"/>
                      <a:pt x="7" y="17"/>
                      <a:pt x="5" y="10"/>
                    </a:cubicBezTo>
                    <a:cubicBezTo>
                      <a:pt x="9" y="14"/>
                      <a:pt x="9" y="5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790C6B49-0064-470C-A026-C11BF38ABED2}"/>
                  </a:ext>
                </a:extLst>
              </p:cNvPr>
              <p:cNvSpPr/>
              <p:nvPr/>
            </p:nvSpPr>
            <p:spPr bwMode="auto">
              <a:xfrm>
                <a:off x="7594658" y="1983762"/>
                <a:ext cx="58833" cy="60234"/>
              </a:xfrm>
              <a:custGeom>
                <a:avLst/>
                <a:gdLst>
                  <a:gd name="T0" fmla="*/ 15 w 28"/>
                  <a:gd name="T1" fmla="*/ 3 h 29"/>
                  <a:gd name="T2" fmla="*/ 21 w 28"/>
                  <a:gd name="T3" fmla="*/ 9 h 29"/>
                  <a:gd name="T4" fmla="*/ 19 w 28"/>
                  <a:gd name="T5" fmla="*/ 10 h 29"/>
                  <a:gd name="T6" fmla="*/ 21 w 28"/>
                  <a:gd name="T7" fmla="*/ 14 h 29"/>
                  <a:gd name="T8" fmla="*/ 28 w 28"/>
                  <a:gd name="T9" fmla="*/ 23 h 29"/>
                  <a:gd name="T10" fmla="*/ 25 w 28"/>
                  <a:gd name="T11" fmla="*/ 29 h 29"/>
                  <a:gd name="T12" fmla="*/ 19 w 28"/>
                  <a:gd name="T13" fmla="*/ 29 h 29"/>
                  <a:gd name="T14" fmla="*/ 10 w 28"/>
                  <a:gd name="T15" fmla="*/ 20 h 29"/>
                  <a:gd name="T16" fmla="*/ 13 w 28"/>
                  <a:gd name="T17" fmla="*/ 16 h 29"/>
                  <a:gd name="T18" fmla="*/ 0 w 28"/>
                  <a:gd name="T19" fmla="*/ 5 h 29"/>
                  <a:gd name="T20" fmla="*/ 15 w 28"/>
                  <a:gd name="T21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9">
                    <a:moveTo>
                      <a:pt x="15" y="3"/>
                    </a:moveTo>
                    <a:cubicBezTo>
                      <a:pt x="10" y="9"/>
                      <a:pt x="20" y="7"/>
                      <a:pt x="21" y="9"/>
                    </a:cubicBezTo>
                    <a:cubicBezTo>
                      <a:pt x="22" y="10"/>
                      <a:pt x="19" y="10"/>
                      <a:pt x="19" y="10"/>
                    </a:cubicBezTo>
                    <a:cubicBezTo>
                      <a:pt x="19" y="11"/>
                      <a:pt x="21" y="14"/>
                      <a:pt x="21" y="14"/>
                    </a:cubicBezTo>
                    <a:cubicBezTo>
                      <a:pt x="23" y="18"/>
                      <a:pt x="28" y="18"/>
                      <a:pt x="28" y="23"/>
                    </a:cubicBezTo>
                    <a:cubicBezTo>
                      <a:pt x="24" y="23"/>
                      <a:pt x="25" y="26"/>
                      <a:pt x="25" y="29"/>
                    </a:cubicBezTo>
                    <a:cubicBezTo>
                      <a:pt x="23" y="28"/>
                      <a:pt x="19" y="26"/>
                      <a:pt x="19" y="29"/>
                    </a:cubicBezTo>
                    <a:cubicBezTo>
                      <a:pt x="14" y="28"/>
                      <a:pt x="15" y="21"/>
                      <a:pt x="10" y="20"/>
                    </a:cubicBezTo>
                    <a:cubicBezTo>
                      <a:pt x="10" y="18"/>
                      <a:pt x="13" y="18"/>
                      <a:pt x="13" y="16"/>
                    </a:cubicBezTo>
                    <a:cubicBezTo>
                      <a:pt x="9" y="13"/>
                      <a:pt x="6" y="7"/>
                      <a:pt x="0" y="5"/>
                    </a:cubicBezTo>
                    <a:cubicBezTo>
                      <a:pt x="5" y="0"/>
                      <a:pt x="9" y="2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1FDACF1-CD99-471E-806A-698A52DAB791}"/>
                  </a:ext>
                </a:extLst>
              </p:cNvPr>
              <p:cNvSpPr/>
              <p:nvPr/>
            </p:nvSpPr>
            <p:spPr bwMode="auto">
              <a:xfrm>
                <a:off x="7572246" y="2008976"/>
                <a:ext cx="12607" cy="8405"/>
              </a:xfrm>
              <a:custGeom>
                <a:avLst/>
                <a:gdLst>
                  <a:gd name="T0" fmla="*/ 0 w 6"/>
                  <a:gd name="T1" fmla="*/ 0 h 4"/>
                  <a:gd name="T2" fmla="*/ 6 w 6"/>
                  <a:gd name="T3" fmla="*/ 0 h 4"/>
                  <a:gd name="T4" fmla="*/ 6 w 6"/>
                  <a:gd name="T5" fmla="*/ 4 h 4"/>
                  <a:gd name="T6" fmla="*/ 0 w 6"/>
                  <a:gd name="T7" fmla="*/ 4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2" y="0"/>
                      <a:pt x="4" y="0"/>
                      <a:pt x="6" y="0"/>
                    </a:cubicBezTo>
                    <a:cubicBezTo>
                      <a:pt x="6" y="2"/>
                      <a:pt x="6" y="3"/>
                      <a:pt x="6" y="4"/>
                    </a:cubicBezTo>
                    <a:cubicBezTo>
                      <a:pt x="4" y="4"/>
                      <a:pt x="2" y="4"/>
                      <a:pt x="0" y="4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C534FFD9-B588-4A2F-9327-488D4ACA6291}"/>
                  </a:ext>
                </a:extLst>
              </p:cNvPr>
              <p:cNvSpPr/>
              <p:nvPr/>
            </p:nvSpPr>
            <p:spPr bwMode="auto">
              <a:xfrm>
                <a:off x="7590455" y="2018781"/>
                <a:ext cx="33619" cy="50428"/>
              </a:xfrm>
              <a:custGeom>
                <a:avLst/>
                <a:gdLst>
                  <a:gd name="T0" fmla="*/ 15 w 16"/>
                  <a:gd name="T1" fmla="*/ 20 h 24"/>
                  <a:gd name="T2" fmla="*/ 6 w 16"/>
                  <a:gd name="T3" fmla="*/ 21 h 24"/>
                  <a:gd name="T4" fmla="*/ 0 w 16"/>
                  <a:gd name="T5" fmla="*/ 12 h 24"/>
                  <a:gd name="T6" fmla="*/ 15 w 16"/>
                  <a:gd name="T7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4">
                    <a:moveTo>
                      <a:pt x="15" y="20"/>
                    </a:moveTo>
                    <a:cubicBezTo>
                      <a:pt x="16" y="24"/>
                      <a:pt x="9" y="20"/>
                      <a:pt x="6" y="21"/>
                    </a:cubicBezTo>
                    <a:cubicBezTo>
                      <a:pt x="6" y="16"/>
                      <a:pt x="8" y="10"/>
                      <a:pt x="0" y="12"/>
                    </a:cubicBezTo>
                    <a:cubicBezTo>
                      <a:pt x="7" y="0"/>
                      <a:pt x="7" y="21"/>
                      <a:pt x="15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7A4FF9E5-E9A6-4944-BC65-56E743EE162F}"/>
                  </a:ext>
                </a:extLst>
              </p:cNvPr>
              <p:cNvSpPr/>
              <p:nvPr/>
            </p:nvSpPr>
            <p:spPr bwMode="auto">
              <a:xfrm>
                <a:off x="6922283" y="2060805"/>
                <a:ext cx="33619" cy="56031"/>
              </a:xfrm>
              <a:custGeom>
                <a:avLst/>
                <a:gdLst>
                  <a:gd name="T0" fmla="*/ 3 w 16"/>
                  <a:gd name="T1" fmla="*/ 1 h 27"/>
                  <a:gd name="T2" fmla="*/ 8 w 16"/>
                  <a:gd name="T3" fmla="*/ 7 h 27"/>
                  <a:gd name="T4" fmla="*/ 10 w 16"/>
                  <a:gd name="T5" fmla="*/ 9 h 27"/>
                  <a:gd name="T6" fmla="*/ 14 w 16"/>
                  <a:gd name="T7" fmla="*/ 13 h 27"/>
                  <a:gd name="T8" fmla="*/ 12 w 16"/>
                  <a:gd name="T9" fmla="*/ 14 h 27"/>
                  <a:gd name="T10" fmla="*/ 14 w 16"/>
                  <a:gd name="T11" fmla="*/ 24 h 27"/>
                  <a:gd name="T12" fmla="*/ 10 w 16"/>
                  <a:gd name="T13" fmla="*/ 27 h 27"/>
                  <a:gd name="T14" fmla="*/ 3 w 16"/>
                  <a:gd name="T1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3" y="1"/>
                    </a:moveTo>
                    <a:cubicBezTo>
                      <a:pt x="6" y="0"/>
                      <a:pt x="7" y="5"/>
                      <a:pt x="8" y="7"/>
                    </a:cubicBezTo>
                    <a:cubicBezTo>
                      <a:pt x="9" y="8"/>
                      <a:pt x="10" y="7"/>
                      <a:pt x="10" y="9"/>
                    </a:cubicBezTo>
                    <a:cubicBezTo>
                      <a:pt x="10" y="11"/>
                      <a:pt x="13" y="11"/>
                      <a:pt x="14" y="13"/>
                    </a:cubicBezTo>
                    <a:cubicBezTo>
                      <a:pt x="15" y="15"/>
                      <a:pt x="12" y="14"/>
                      <a:pt x="12" y="14"/>
                    </a:cubicBezTo>
                    <a:cubicBezTo>
                      <a:pt x="12" y="16"/>
                      <a:pt x="16" y="18"/>
                      <a:pt x="14" y="24"/>
                    </a:cubicBezTo>
                    <a:cubicBezTo>
                      <a:pt x="11" y="23"/>
                      <a:pt x="10" y="25"/>
                      <a:pt x="10" y="27"/>
                    </a:cubicBezTo>
                    <a:cubicBezTo>
                      <a:pt x="0" y="24"/>
                      <a:pt x="1" y="13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214C9FF6-8EB4-463C-9334-84813F9C7DE0}"/>
                  </a:ext>
                </a:extLst>
              </p:cNvPr>
              <p:cNvSpPr/>
              <p:nvPr/>
            </p:nvSpPr>
            <p:spPr bwMode="auto">
              <a:xfrm>
                <a:off x="7619872" y="2063606"/>
                <a:ext cx="42023" cy="64436"/>
              </a:xfrm>
              <a:custGeom>
                <a:avLst/>
                <a:gdLst>
                  <a:gd name="T0" fmla="*/ 16 w 20"/>
                  <a:gd name="T1" fmla="*/ 0 h 31"/>
                  <a:gd name="T2" fmla="*/ 20 w 20"/>
                  <a:gd name="T3" fmla="*/ 15 h 31"/>
                  <a:gd name="T4" fmla="*/ 14 w 20"/>
                  <a:gd name="T5" fmla="*/ 17 h 31"/>
                  <a:gd name="T6" fmla="*/ 14 w 20"/>
                  <a:gd name="T7" fmla="*/ 30 h 31"/>
                  <a:gd name="T8" fmla="*/ 5 w 20"/>
                  <a:gd name="T9" fmla="*/ 25 h 31"/>
                  <a:gd name="T10" fmla="*/ 7 w 20"/>
                  <a:gd name="T11" fmla="*/ 17 h 31"/>
                  <a:gd name="T12" fmla="*/ 7 w 20"/>
                  <a:gd name="T13" fmla="*/ 13 h 31"/>
                  <a:gd name="T14" fmla="*/ 5 w 20"/>
                  <a:gd name="T15" fmla="*/ 13 h 31"/>
                  <a:gd name="T16" fmla="*/ 9 w 20"/>
                  <a:gd name="T17" fmla="*/ 8 h 31"/>
                  <a:gd name="T18" fmla="*/ 13 w 20"/>
                  <a:gd name="T19" fmla="*/ 2 h 31"/>
                  <a:gd name="T20" fmla="*/ 16 w 20"/>
                  <a:gd name="T2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31">
                    <a:moveTo>
                      <a:pt x="16" y="0"/>
                    </a:moveTo>
                    <a:cubicBezTo>
                      <a:pt x="16" y="7"/>
                      <a:pt x="16" y="13"/>
                      <a:pt x="20" y="15"/>
                    </a:cubicBezTo>
                    <a:cubicBezTo>
                      <a:pt x="20" y="17"/>
                      <a:pt x="17" y="17"/>
                      <a:pt x="14" y="17"/>
                    </a:cubicBezTo>
                    <a:cubicBezTo>
                      <a:pt x="18" y="20"/>
                      <a:pt x="13" y="23"/>
                      <a:pt x="14" y="30"/>
                    </a:cubicBezTo>
                    <a:cubicBezTo>
                      <a:pt x="9" y="31"/>
                      <a:pt x="10" y="25"/>
                      <a:pt x="5" y="25"/>
                    </a:cubicBezTo>
                    <a:cubicBezTo>
                      <a:pt x="4" y="21"/>
                      <a:pt x="7" y="20"/>
                      <a:pt x="7" y="17"/>
                    </a:cubicBezTo>
                    <a:cubicBezTo>
                      <a:pt x="7" y="16"/>
                      <a:pt x="4" y="14"/>
                      <a:pt x="7" y="13"/>
                    </a:cubicBezTo>
                    <a:cubicBezTo>
                      <a:pt x="7" y="11"/>
                      <a:pt x="5" y="12"/>
                      <a:pt x="5" y="13"/>
                    </a:cubicBezTo>
                    <a:cubicBezTo>
                      <a:pt x="0" y="13"/>
                      <a:pt x="5" y="6"/>
                      <a:pt x="9" y="8"/>
                    </a:cubicBezTo>
                    <a:cubicBezTo>
                      <a:pt x="9" y="5"/>
                      <a:pt x="11" y="3"/>
                      <a:pt x="13" y="2"/>
                    </a:cubicBezTo>
                    <a:cubicBezTo>
                      <a:pt x="13" y="2"/>
                      <a:pt x="14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46A44DFE-B12B-4FB9-A258-877117091FF0}"/>
                  </a:ext>
                </a:extLst>
              </p:cNvPr>
              <p:cNvSpPr/>
              <p:nvPr/>
            </p:nvSpPr>
            <p:spPr bwMode="auto">
              <a:xfrm>
                <a:off x="7589055" y="2074812"/>
                <a:ext cx="30817" cy="28016"/>
              </a:xfrm>
              <a:custGeom>
                <a:avLst/>
                <a:gdLst>
                  <a:gd name="T0" fmla="*/ 9 w 15"/>
                  <a:gd name="T1" fmla="*/ 0 h 13"/>
                  <a:gd name="T2" fmla="*/ 15 w 15"/>
                  <a:gd name="T3" fmla="*/ 6 h 13"/>
                  <a:gd name="T4" fmla="*/ 13 w 15"/>
                  <a:gd name="T5" fmla="*/ 7 h 13"/>
                  <a:gd name="T6" fmla="*/ 1 w 15"/>
                  <a:gd name="T7" fmla="*/ 13 h 13"/>
                  <a:gd name="T8" fmla="*/ 9 w 15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cubicBezTo>
                      <a:pt x="13" y="0"/>
                      <a:pt x="15" y="2"/>
                      <a:pt x="15" y="6"/>
                    </a:cubicBezTo>
                    <a:cubicBezTo>
                      <a:pt x="11" y="5"/>
                      <a:pt x="11" y="7"/>
                      <a:pt x="13" y="7"/>
                    </a:cubicBezTo>
                    <a:cubicBezTo>
                      <a:pt x="11" y="9"/>
                      <a:pt x="6" y="12"/>
                      <a:pt x="1" y="13"/>
                    </a:cubicBezTo>
                    <a:cubicBezTo>
                      <a:pt x="0" y="5"/>
                      <a:pt x="9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EE9C8BEC-BBD6-4401-9276-9D05DFAAF2D5}"/>
                  </a:ext>
                </a:extLst>
              </p:cNvPr>
              <p:cNvSpPr/>
              <p:nvPr/>
            </p:nvSpPr>
            <p:spPr bwMode="auto">
              <a:xfrm>
                <a:off x="7675903" y="2175669"/>
                <a:ext cx="21012" cy="39222"/>
              </a:xfrm>
              <a:custGeom>
                <a:avLst/>
                <a:gdLst>
                  <a:gd name="T0" fmla="*/ 2 w 10"/>
                  <a:gd name="T1" fmla="*/ 0 h 19"/>
                  <a:gd name="T2" fmla="*/ 10 w 10"/>
                  <a:gd name="T3" fmla="*/ 6 h 19"/>
                  <a:gd name="T4" fmla="*/ 0 w 10"/>
                  <a:gd name="T5" fmla="*/ 17 h 19"/>
                  <a:gd name="T6" fmla="*/ 4 w 10"/>
                  <a:gd name="T7" fmla="*/ 15 h 19"/>
                  <a:gd name="T8" fmla="*/ 2 w 10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9">
                    <a:moveTo>
                      <a:pt x="2" y="0"/>
                    </a:moveTo>
                    <a:cubicBezTo>
                      <a:pt x="7" y="0"/>
                      <a:pt x="4" y="8"/>
                      <a:pt x="10" y="6"/>
                    </a:cubicBezTo>
                    <a:cubicBezTo>
                      <a:pt x="8" y="11"/>
                      <a:pt x="9" y="19"/>
                      <a:pt x="0" y="17"/>
                    </a:cubicBezTo>
                    <a:cubicBezTo>
                      <a:pt x="0" y="15"/>
                      <a:pt x="3" y="16"/>
                      <a:pt x="4" y="15"/>
                    </a:cubicBezTo>
                    <a:cubicBezTo>
                      <a:pt x="1" y="8"/>
                      <a:pt x="1" y="1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6DBA6B41-080F-4F45-B5CC-4F10AD74F9F0}"/>
                  </a:ext>
                </a:extLst>
              </p:cNvPr>
              <p:cNvSpPr/>
              <p:nvPr/>
            </p:nvSpPr>
            <p:spPr bwMode="auto">
              <a:xfrm>
                <a:off x="7556836" y="2185475"/>
                <a:ext cx="79845" cy="25214"/>
              </a:xfrm>
              <a:custGeom>
                <a:avLst/>
                <a:gdLst>
                  <a:gd name="T0" fmla="*/ 37 w 38"/>
                  <a:gd name="T1" fmla="*/ 5 h 12"/>
                  <a:gd name="T2" fmla="*/ 26 w 38"/>
                  <a:gd name="T3" fmla="*/ 10 h 12"/>
                  <a:gd name="T4" fmla="*/ 0 w 38"/>
                  <a:gd name="T5" fmla="*/ 12 h 12"/>
                  <a:gd name="T6" fmla="*/ 31 w 38"/>
                  <a:gd name="T7" fmla="*/ 3 h 12"/>
                  <a:gd name="T8" fmla="*/ 37 w 38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37" y="5"/>
                    </a:moveTo>
                    <a:cubicBezTo>
                      <a:pt x="38" y="10"/>
                      <a:pt x="30" y="10"/>
                      <a:pt x="26" y="10"/>
                    </a:cubicBezTo>
                    <a:cubicBezTo>
                      <a:pt x="18" y="11"/>
                      <a:pt x="7" y="9"/>
                      <a:pt x="0" y="12"/>
                    </a:cubicBezTo>
                    <a:cubicBezTo>
                      <a:pt x="1" y="0"/>
                      <a:pt x="27" y="12"/>
                      <a:pt x="31" y="3"/>
                    </a:cubicBezTo>
                    <a:cubicBezTo>
                      <a:pt x="33" y="4"/>
                      <a:pt x="34" y="5"/>
                      <a:pt x="37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48C49BF0-58BB-4100-BE4D-FF418C2D20E9}"/>
                  </a:ext>
                </a:extLst>
              </p:cNvPr>
              <p:cNvSpPr/>
              <p:nvPr/>
            </p:nvSpPr>
            <p:spPr bwMode="auto">
              <a:xfrm>
                <a:off x="7727732" y="2216292"/>
                <a:ext cx="50428" cy="32218"/>
              </a:xfrm>
              <a:custGeom>
                <a:avLst/>
                <a:gdLst>
                  <a:gd name="T0" fmla="*/ 24 w 24"/>
                  <a:gd name="T1" fmla="*/ 10 h 15"/>
                  <a:gd name="T2" fmla="*/ 20 w 24"/>
                  <a:gd name="T3" fmla="*/ 14 h 15"/>
                  <a:gd name="T4" fmla="*/ 9 w 24"/>
                  <a:gd name="T5" fmla="*/ 14 h 15"/>
                  <a:gd name="T6" fmla="*/ 7 w 24"/>
                  <a:gd name="T7" fmla="*/ 12 h 15"/>
                  <a:gd name="T8" fmla="*/ 0 w 24"/>
                  <a:gd name="T9" fmla="*/ 7 h 15"/>
                  <a:gd name="T10" fmla="*/ 9 w 24"/>
                  <a:gd name="T11" fmla="*/ 3 h 15"/>
                  <a:gd name="T12" fmla="*/ 15 w 24"/>
                  <a:gd name="T13" fmla="*/ 1 h 15"/>
                  <a:gd name="T14" fmla="*/ 15 w 24"/>
                  <a:gd name="T15" fmla="*/ 3 h 15"/>
                  <a:gd name="T16" fmla="*/ 16 w 24"/>
                  <a:gd name="T17" fmla="*/ 1 h 15"/>
                  <a:gd name="T18" fmla="*/ 24 w 24"/>
                  <a:gd name="T1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5">
                    <a:moveTo>
                      <a:pt x="24" y="10"/>
                    </a:moveTo>
                    <a:cubicBezTo>
                      <a:pt x="22" y="11"/>
                      <a:pt x="21" y="12"/>
                      <a:pt x="20" y="14"/>
                    </a:cubicBezTo>
                    <a:cubicBezTo>
                      <a:pt x="16" y="11"/>
                      <a:pt x="13" y="15"/>
                      <a:pt x="9" y="14"/>
                    </a:cubicBezTo>
                    <a:cubicBezTo>
                      <a:pt x="8" y="14"/>
                      <a:pt x="9" y="12"/>
                      <a:pt x="7" y="12"/>
                    </a:cubicBezTo>
                    <a:cubicBezTo>
                      <a:pt x="5" y="12"/>
                      <a:pt x="3" y="8"/>
                      <a:pt x="0" y="7"/>
                    </a:cubicBezTo>
                    <a:cubicBezTo>
                      <a:pt x="0" y="4"/>
                      <a:pt x="6" y="5"/>
                      <a:pt x="9" y="3"/>
                    </a:cubicBezTo>
                    <a:cubicBezTo>
                      <a:pt x="9" y="3"/>
                      <a:pt x="14" y="0"/>
                      <a:pt x="15" y="1"/>
                    </a:cubicBezTo>
                    <a:cubicBezTo>
                      <a:pt x="15" y="1"/>
                      <a:pt x="15" y="3"/>
                      <a:pt x="15" y="3"/>
                    </a:cubicBezTo>
                    <a:cubicBezTo>
                      <a:pt x="16" y="3"/>
                      <a:pt x="17" y="1"/>
                      <a:pt x="16" y="1"/>
                    </a:cubicBezTo>
                    <a:cubicBezTo>
                      <a:pt x="20" y="2"/>
                      <a:pt x="23" y="6"/>
                      <a:pt x="2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EBCB0EEB-9D34-4A57-9677-E3960CCEA44B}"/>
                  </a:ext>
                </a:extLst>
              </p:cNvPr>
              <p:cNvSpPr/>
              <p:nvPr/>
            </p:nvSpPr>
            <p:spPr bwMode="auto">
              <a:xfrm>
                <a:off x="7754347" y="2233101"/>
                <a:ext cx="282958" cy="149884"/>
              </a:xfrm>
              <a:custGeom>
                <a:avLst/>
                <a:gdLst>
                  <a:gd name="T0" fmla="*/ 44 w 136"/>
                  <a:gd name="T1" fmla="*/ 36 h 72"/>
                  <a:gd name="T2" fmla="*/ 37 w 136"/>
                  <a:gd name="T3" fmla="*/ 32 h 72"/>
                  <a:gd name="T4" fmla="*/ 33 w 136"/>
                  <a:gd name="T5" fmla="*/ 25 h 72"/>
                  <a:gd name="T6" fmla="*/ 13 w 136"/>
                  <a:gd name="T7" fmla="*/ 19 h 72"/>
                  <a:gd name="T8" fmla="*/ 2 w 136"/>
                  <a:gd name="T9" fmla="*/ 19 h 72"/>
                  <a:gd name="T10" fmla="*/ 0 w 136"/>
                  <a:gd name="T11" fmla="*/ 12 h 72"/>
                  <a:gd name="T12" fmla="*/ 5 w 136"/>
                  <a:gd name="T13" fmla="*/ 12 h 72"/>
                  <a:gd name="T14" fmla="*/ 11 w 136"/>
                  <a:gd name="T15" fmla="*/ 10 h 72"/>
                  <a:gd name="T16" fmla="*/ 20 w 136"/>
                  <a:gd name="T17" fmla="*/ 13 h 72"/>
                  <a:gd name="T18" fmla="*/ 28 w 136"/>
                  <a:gd name="T19" fmla="*/ 8 h 72"/>
                  <a:gd name="T20" fmla="*/ 43 w 136"/>
                  <a:gd name="T21" fmla="*/ 2 h 72"/>
                  <a:gd name="T22" fmla="*/ 46 w 136"/>
                  <a:gd name="T23" fmla="*/ 6 h 72"/>
                  <a:gd name="T24" fmla="*/ 61 w 136"/>
                  <a:gd name="T25" fmla="*/ 12 h 72"/>
                  <a:gd name="T26" fmla="*/ 65 w 136"/>
                  <a:gd name="T27" fmla="*/ 10 h 72"/>
                  <a:gd name="T28" fmla="*/ 69 w 136"/>
                  <a:gd name="T29" fmla="*/ 13 h 72"/>
                  <a:gd name="T30" fmla="*/ 78 w 136"/>
                  <a:gd name="T31" fmla="*/ 13 h 72"/>
                  <a:gd name="T32" fmla="*/ 85 w 136"/>
                  <a:gd name="T33" fmla="*/ 17 h 72"/>
                  <a:gd name="T34" fmla="*/ 85 w 136"/>
                  <a:gd name="T35" fmla="*/ 23 h 72"/>
                  <a:gd name="T36" fmla="*/ 89 w 136"/>
                  <a:gd name="T37" fmla="*/ 21 h 72"/>
                  <a:gd name="T38" fmla="*/ 91 w 136"/>
                  <a:gd name="T39" fmla="*/ 27 h 72"/>
                  <a:gd name="T40" fmla="*/ 100 w 136"/>
                  <a:gd name="T41" fmla="*/ 32 h 72"/>
                  <a:gd name="T42" fmla="*/ 115 w 136"/>
                  <a:gd name="T43" fmla="*/ 38 h 72"/>
                  <a:gd name="T44" fmla="*/ 113 w 136"/>
                  <a:gd name="T45" fmla="*/ 43 h 72"/>
                  <a:gd name="T46" fmla="*/ 119 w 136"/>
                  <a:gd name="T47" fmla="*/ 47 h 72"/>
                  <a:gd name="T48" fmla="*/ 119 w 136"/>
                  <a:gd name="T49" fmla="*/ 51 h 72"/>
                  <a:gd name="T50" fmla="*/ 126 w 136"/>
                  <a:gd name="T51" fmla="*/ 58 h 72"/>
                  <a:gd name="T52" fmla="*/ 136 w 136"/>
                  <a:gd name="T53" fmla="*/ 68 h 72"/>
                  <a:gd name="T54" fmla="*/ 123 w 136"/>
                  <a:gd name="T55" fmla="*/ 68 h 72"/>
                  <a:gd name="T56" fmla="*/ 112 w 136"/>
                  <a:gd name="T57" fmla="*/ 60 h 72"/>
                  <a:gd name="T58" fmla="*/ 108 w 136"/>
                  <a:gd name="T59" fmla="*/ 56 h 72"/>
                  <a:gd name="T60" fmla="*/ 106 w 136"/>
                  <a:gd name="T61" fmla="*/ 54 h 72"/>
                  <a:gd name="T62" fmla="*/ 100 w 136"/>
                  <a:gd name="T63" fmla="*/ 49 h 72"/>
                  <a:gd name="T64" fmla="*/ 85 w 136"/>
                  <a:gd name="T65" fmla="*/ 47 h 72"/>
                  <a:gd name="T66" fmla="*/ 78 w 136"/>
                  <a:gd name="T67" fmla="*/ 64 h 72"/>
                  <a:gd name="T68" fmla="*/ 67 w 136"/>
                  <a:gd name="T69" fmla="*/ 60 h 72"/>
                  <a:gd name="T70" fmla="*/ 61 w 136"/>
                  <a:gd name="T71" fmla="*/ 58 h 72"/>
                  <a:gd name="T72" fmla="*/ 54 w 136"/>
                  <a:gd name="T73" fmla="*/ 49 h 72"/>
                  <a:gd name="T74" fmla="*/ 46 w 136"/>
                  <a:gd name="T75" fmla="*/ 56 h 72"/>
                  <a:gd name="T76" fmla="*/ 41 w 136"/>
                  <a:gd name="T77" fmla="*/ 53 h 72"/>
                  <a:gd name="T78" fmla="*/ 46 w 136"/>
                  <a:gd name="T79" fmla="*/ 47 h 72"/>
                  <a:gd name="T80" fmla="*/ 50 w 136"/>
                  <a:gd name="T81" fmla="*/ 40 h 72"/>
                  <a:gd name="T82" fmla="*/ 48 w 136"/>
                  <a:gd name="T83" fmla="*/ 43 h 72"/>
                  <a:gd name="T84" fmla="*/ 44 w 136"/>
                  <a:gd name="T85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" h="72">
                    <a:moveTo>
                      <a:pt x="44" y="36"/>
                    </a:moveTo>
                    <a:cubicBezTo>
                      <a:pt x="41" y="36"/>
                      <a:pt x="42" y="31"/>
                      <a:pt x="37" y="32"/>
                    </a:cubicBezTo>
                    <a:cubicBezTo>
                      <a:pt x="36" y="29"/>
                      <a:pt x="34" y="27"/>
                      <a:pt x="33" y="25"/>
                    </a:cubicBezTo>
                    <a:cubicBezTo>
                      <a:pt x="25" y="24"/>
                      <a:pt x="17" y="23"/>
                      <a:pt x="13" y="19"/>
                    </a:cubicBezTo>
                    <a:cubicBezTo>
                      <a:pt x="7" y="21"/>
                      <a:pt x="9" y="19"/>
                      <a:pt x="2" y="19"/>
                    </a:cubicBezTo>
                    <a:cubicBezTo>
                      <a:pt x="1" y="16"/>
                      <a:pt x="3" y="12"/>
                      <a:pt x="0" y="12"/>
                    </a:cubicBezTo>
                    <a:cubicBezTo>
                      <a:pt x="1" y="8"/>
                      <a:pt x="3" y="12"/>
                      <a:pt x="5" y="12"/>
                    </a:cubicBezTo>
                    <a:cubicBezTo>
                      <a:pt x="8" y="11"/>
                      <a:pt x="9" y="9"/>
                      <a:pt x="11" y="10"/>
                    </a:cubicBezTo>
                    <a:cubicBezTo>
                      <a:pt x="15" y="10"/>
                      <a:pt x="17" y="13"/>
                      <a:pt x="20" y="13"/>
                    </a:cubicBezTo>
                    <a:cubicBezTo>
                      <a:pt x="24" y="15"/>
                      <a:pt x="25" y="9"/>
                      <a:pt x="28" y="8"/>
                    </a:cubicBezTo>
                    <a:cubicBezTo>
                      <a:pt x="32" y="5"/>
                      <a:pt x="39" y="6"/>
                      <a:pt x="43" y="2"/>
                    </a:cubicBezTo>
                    <a:cubicBezTo>
                      <a:pt x="46" y="0"/>
                      <a:pt x="45" y="5"/>
                      <a:pt x="46" y="6"/>
                    </a:cubicBezTo>
                    <a:cubicBezTo>
                      <a:pt x="50" y="8"/>
                      <a:pt x="61" y="5"/>
                      <a:pt x="61" y="12"/>
                    </a:cubicBezTo>
                    <a:cubicBezTo>
                      <a:pt x="63" y="13"/>
                      <a:pt x="65" y="10"/>
                      <a:pt x="65" y="10"/>
                    </a:cubicBezTo>
                    <a:cubicBezTo>
                      <a:pt x="67" y="10"/>
                      <a:pt x="67" y="13"/>
                      <a:pt x="69" y="13"/>
                    </a:cubicBezTo>
                    <a:cubicBezTo>
                      <a:pt x="71" y="15"/>
                      <a:pt x="75" y="12"/>
                      <a:pt x="78" y="13"/>
                    </a:cubicBezTo>
                    <a:cubicBezTo>
                      <a:pt x="79" y="14"/>
                      <a:pt x="80" y="19"/>
                      <a:pt x="85" y="17"/>
                    </a:cubicBezTo>
                    <a:cubicBezTo>
                      <a:pt x="88" y="20"/>
                      <a:pt x="86" y="20"/>
                      <a:pt x="85" y="23"/>
                    </a:cubicBezTo>
                    <a:cubicBezTo>
                      <a:pt x="88" y="23"/>
                      <a:pt x="89" y="22"/>
                      <a:pt x="89" y="21"/>
                    </a:cubicBezTo>
                    <a:cubicBezTo>
                      <a:pt x="91" y="21"/>
                      <a:pt x="91" y="24"/>
                      <a:pt x="91" y="27"/>
                    </a:cubicBezTo>
                    <a:cubicBezTo>
                      <a:pt x="93" y="30"/>
                      <a:pt x="97" y="30"/>
                      <a:pt x="100" y="32"/>
                    </a:cubicBezTo>
                    <a:cubicBezTo>
                      <a:pt x="102" y="33"/>
                      <a:pt x="109" y="38"/>
                      <a:pt x="115" y="38"/>
                    </a:cubicBezTo>
                    <a:cubicBezTo>
                      <a:pt x="116" y="41"/>
                      <a:pt x="114" y="41"/>
                      <a:pt x="113" y="43"/>
                    </a:cubicBezTo>
                    <a:cubicBezTo>
                      <a:pt x="114" y="46"/>
                      <a:pt x="118" y="45"/>
                      <a:pt x="119" y="47"/>
                    </a:cubicBezTo>
                    <a:cubicBezTo>
                      <a:pt x="120" y="48"/>
                      <a:pt x="118" y="50"/>
                      <a:pt x="119" y="51"/>
                    </a:cubicBezTo>
                    <a:cubicBezTo>
                      <a:pt x="121" y="53"/>
                      <a:pt x="124" y="55"/>
                      <a:pt x="126" y="58"/>
                    </a:cubicBezTo>
                    <a:cubicBezTo>
                      <a:pt x="129" y="62"/>
                      <a:pt x="131" y="67"/>
                      <a:pt x="136" y="68"/>
                    </a:cubicBezTo>
                    <a:cubicBezTo>
                      <a:pt x="132" y="72"/>
                      <a:pt x="125" y="68"/>
                      <a:pt x="123" y="68"/>
                    </a:cubicBezTo>
                    <a:cubicBezTo>
                      <a:pt x="119" y="67"/>
                      <a:pt x="117" y="65"/>
                      <a:pt x="112" y="60"/>
                    </a:cubicBezTo>
                    <a:cubicBezTo>
                      <a:pt x="110" y="59"/>
                      <a:pt x="109" y="57"/>
                      <a:pt x="108" y="56"/>
                    </a:cubicBezTo>
                    <a:cubicBezTo>
                      <a:pt x="107" y="55"/>
                      <a:pt x="106" y="57"/>
                      <a:pt x="106" y="54"/>
                    </a:cubicBezTo>
                    <a:cubicBezTo>
                      <a:pt x="106" y="54"/>
                      <a:pt x="101" y="49"/>
                      <a:pt x="100" y="49"/>
                    </a:cubicBezTo>
                    <a:cubicBezTo>
                      <a:pt x="96" y="47"/>
                      <a:pt x="90" y="50"/>
                      <a:pt x="85" y="47"/>
                    </a:cubicBezTo>
                    <a:cubicBezTo>
                      <a:pt x="81" y="51"/>
                      <a:pt x="80" y="58"/>
                      <a:pt x="78" y="64"/>
                    </a:cubicBezTo>
                    <a:cubicBezTo>
                      <a:pt x="77" y="61"/>
                      <a:pt x="70" y="62"/>
                      <a:pt x="67" y="60"/>
                    </a:cubicBezTo>
                    <a:cubicBezTo>
                      <a:pt x="65" y="58"/>
                      <a:pt x="68" y="55"/>
                      <a:pt x="61" y="58"/>
                    </a:cubicBezTo>
                    <a:cubicBezTo>
                      <a:pt x="65" y="49"/>
                      <a:pt x="52" y="56"/>
                      <a:pt x="54" y="49"/>
                    </a:cubicBezTo>
                    <a:cubicBezTo>
                      <a:pt x="49" y="50"/>
                      <a:pt x="45" y="50"/>
                      <a:pt x="46" y="56"/>
                    </a:cubicBezTo>
                    <a:cubicBezTo>
                      <a:pt x="44" y="55"/>
                      <a:pt x="44" y="52"/>
                      <a:pt x="41" y="53"/>
                    </a:cubicBezTo>
                    <a:cubicBezTo>
                      <a:pt x="41" y="49"/>
                      <a:pt x="44" y="49"/>
                      <a:pt x="46" y="47"/>
                    </a:cubicBezTo>
                    <a:cubicBezTo>
                      <a:pt x="49" y="45"/>
                      <a:pt x="51" y="45"/>
                      <a:pt x="50" y="40"/>
                    </a:cubicBezTo>
                    <a:cubicBezTo>
                      <a:pt x="49" y="38"/>
                      <a:pt x="48" y="43"/>
                      <a:pt x="48" y="43"/>
                    </a:cubicBezTo>
                    <a:cubicBezTo>
                      <a:pt x="45" y="42"/>
                      <a:pt x="46" y="31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C7E000D7-CA05-401D-BA0A-5EBC2B25C64B}"/>
                  </a:ext>
                </a:extLst>
              </p:cNvPr>
              <p:cNvSpPr/>
              <p:nvPr/>
            </p:nvSpPr>
            <p:spPr bwMode="auto">
              <a:xfrm>
                <a:off x="7688510" y="2252712"/>
                <a:ext cx="29417" cy="23814"/>
              </a:xfrm>
              <a:custGeom>
                <a:avLst/>
                <a:gdLst>
                  <a:gd name="T0" fmla="*/ 13 w 14"/>
                  <a:gd name="T1" fmla="*/ 4 h 12"/>
                  <a:gd name="T2" fmla="*/ 0 w 14"/>
                  <a:gd name="T3" fmla="*/ 6 h 12"/>
                  <a:gd name="T4" fmla="*/ 13 w 14"/>
                  <a:gd name="T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13" y="4"/>
                    </a:moveTo>
                    <a:cubicBezTo>
                      <a:pt x="14" y="12"/>
                      <a:pt x="3" y="6"/>
                      <a:pt x="0" y="6"/>
                    </a:cubicBezTo>
                    <a:cubicBezTo>
                      <a:pt x="2" y="4"/>
                      <a:pt x="11" y="0"/>
                      <a:pt x="1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512F7328-C9DD-4E0E-91DE-35424BC2C4CE}"/>
                  </a:ext>
                </a:extLst>
              </p:cNvPr>
              <p:cNvSpPr/>
              <p:nvPr/>
            </p:nvSpPr>
            <p:spPr bwMode="auto">
              <a:xfrm>
                <a:off x="7653491" y="2258315"/>
                <a:ext cx="18211" cy="9806"/>
              </a:xfrm>
              <a:custGeom>
                <a:avLst/>
                <a:gdLst>
                  <a:gd name="T0" fmla="*/ 0 w 9"/>
                  <a:gd name="T1" fmla="*/ 3 h 5"/>
                  <a:gd name="T2" fmla="*/ 6 w 9"/>
                  <a:gd name="T3" fmla="*/ 5 h 5"/>
                  <a:gd name="T4" fmla="*/ 2 w 9"/>
                  <a:gd name="T5" fmla="*/ 5 h 5"/>
                  <a:gd name="T6" fmla="*/ 0 w 9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0" y="3"/>
                    </a:moveTo>
                    <a:cubicBezTo>
                      <a:pt x="0" y="0"/>
                      <a:pt x="9" y="1"/>
                      <a:pt x="6" y="5"/>
                    </a:cubicBezTo>
                    <a:cubicBezTo>
                      <a:pt x="5" y="5"/>
                      <a:pt x="3" y="5"/>
                      <a:pt x="2" y="5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B11663AC-3F61-4AA6-9210-C56856E6EF82}"/>
                  </a:ext>
                </a:extLst>
              </p:cNvPr>
              <p:cNvSpPr/>
              <p:nvPr/>
            </p:nvSpPr>
            <p:spPr bwMode="auto">
              <a:xfrm>
                <a:off x="8013490" y="2280728"/>
                <a:ext cx="56031" cy="40623"/>
              </a:xfrm>
              <a:custGeom>
                <a:avLst/>
                <a:gdLst>
                  <a:gd name="T0" fmla="*/ 21 w 27"/>
                  <a:gd name="T1" fmla="*/ 0 h 19"/>
                  <a:gd name="T2" fmla="*/ 27 w 27"/>
                  <a:gd name="T3" fmla="*/ 0 h 19"/>
                  <a:gd name="T4" fmla="*/ 27 w 27"/>
                  <a:gd name="T5" fmla="*/ 5 h 19"/>
                  <a:gd name="T6" fmla="*/ 23 w 27"/>
                  <a:gd name="T7" fmla="*/ 7 h 19"/>
                  <a:gd name="T8" fmla="*/ 23 w 27"/>
                  <a:gd name="T9" fmla="*/ 13 h 19"/>
                  <a:gd name="T10" fmla="*/ 19 w 27"/>
                  <a:gd name="T11" fmla="*/ 15 h 19"/>
                  <a:gd name="T12" fmla="*/ 2 w 27"/>
                  <a:gd name="T13" fmla="*/ 9 h 19"/>
                  <a:gd name="T14" fmla="*/ 21 w 27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9">
                    <a:moveTo>
                      <a:pt x="21" y="0"/>
                    </a:moveTo>
                    <a:cubicBezTo>
                      <a:pt x="23" y="0"/>
                      <a:pt x="25" y="0"/>
                      <a:pt x="27" y="0"/>
                    </a:cubicBezTo>
                    <a:cubicBezTo>
                      <a:pt x="26" y="1"/>
                      <a:pt x="27" y="4"/>
                      <a:pt x="27" y="5"/>
                    </a:cubicBezTo>
                    <a:cubicBezTo>
                      <a:pt x="26" y="7"/>
                      <a:pt x="23" y="6"/>
                      <a:pt x="23" y="7"/>
                    </a:cubicBezTo>
                    <a:cubicBezTo>
                      <a:pt x="22" y="9"/>
                      <a:pt x="26" y="11"/>
                      <a:pt x="23" y="13"/>
                    </a:cubicBezTo>
                    <a:cubicBezTo>
                      <a:pt x="21" y="11"/>
                      <a:pt x="19" y="11"/>
                      <a:pt x="19" y="15"/>
                    </a:cubicBezTo>
                    <a:cubicBezTo>
                      <a:pt x="13" y="13"/>
                      <a:pt x="0" y="19"/>
                      <a:pt x="2" y="9"/>
                    </a:cubicBezTo>
                    <a:cubicBezTo>
                      <a:pt x="12" y="13"/>
                      <a:pt x="18" y="8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E1697C6A-02D5-4774-9BCE-148DE5A7F40E}"/>
                  </a:ext>
                </a:extLst>
              </p:cNvPr>
              <p:cNvSpPr/>
              <p:nvPr/>
            </p:nvSpPr>
            <p:spPr bwMode="auto">
              <a:xfrm>
                <a:off x="7509210" y="2340961"/>
                <a:ext cx="30817" cy="15409"/>
              </a:xfrm>
              <a:custGeom>
                <a:avLst/>
                <a:gdLst>
                  <a:gd name="T0" fmla="*/ 15 w 15"/>
                  <a:gd name="T1" fmla="*/ 1 h 7"/>
                  <a:gd name="T2" fmla="*/ 0 w 15"/>
                  <a:gd name="T3" fmla="*/ 6 h 7"/>
                  <a:gd name="T4" fmla="*/ 15 w 15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2" y="4"/>
                      <a:pt x="8" y="7"/>
                      <a:pt x="0" y="6"/>
                    </a:cubicBezTo>
                    <a:cubicBezTo>
                      <a:pt x="1" y="0"/>
                      <a:pt x="9" y="1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86653997-3949-47F1-8D92-5F2F906B232D}"/>
                  </a:ext>
                </a:extLst>
              </p:cNvPr>
              <p:cNvSpPr/>
              <p:nvPr/>
            </p:nvSpPr>
            <p:spPr bwMode="auto">
              <a:xfrm>
                <a:off x="7556836" y="2340961"/>
                <a:ext cx="32218" cy="11206"/>
              </a:xfrm>
              <a:custGeom>
                <a:avLst/>
                <a:gdLst>
                  <a:gd name="T0" fmla="*/ 15 w 15"/>
                  <a:gd name="T1" fmla="*/ 1 h 5"/>
                  <a:gd name="T2" fmla="*/ 0 w 15"/>
                  <a:gd name="T3" fmla="*/ 4 h 5"/>
                  <a:gd name="T4" fmla="*/ 15 w 15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15" y="1"/>
                    </a:moveTo>
                    <a:cubicBezTo>
                      <a:pt x="13" y="5"/>
                      <a:pt x="6" y="4"/>
                      <a:pt x="0" y="4"/>
                    </a:cubicBezTo>
                    <a:cubicBezTo>
                      <a:pt x="2" y="0"/>
                      <a:pt x="8" y="0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11FA4043-C12B-4758-BB9A-5187B39919AA}"/>
                  </a:ext>
                </a:extLst>
              </p:cNvPr>
              <p:cNvSpPr/>
              <p:nvPr/>
            </p:nvSpPr>
            <p:spPr bwMode="auto">
              <a:xfrm>
                <a:off x="7615669" y="2340961"/>
                <a:ext cx="51829" cy="33619"/>
              </a:xfrm>
              <a:custGeom>
                <a:avLst/>
                <a:gdLst>
                  <a:gd name="T0" fmla="*/ 24 w 25"/>
                  <a:gd name="T1" fmla="*/ 1 h 16"/>
                  <a:gd name="T2" fmla="*/ 22 w 25"/>
                  <a:gd name="T3" fmla="*/ 8 h 16"/>
                  <a:gd name="T4" fmla="*/ 18 w 25"/>
                  <a:gd name="T5" fmla="*/ 8 h 16"/>
                  <a:gd name="T6" fmla="*/ 2 w 25"/>
                  <a:gd name="T7" fmla="*/ 16 h 16"/>
                  <a:gd name="T8" fmla="*/ 7 w 25"/>
                  <a:gd name="T9" fmla="*/ 10 h 16"/>
                  <a:gd name="T10" fmla="*/ 11 w 25"/>
                  <a:gd name="T11" fmla="*/ 6 h 16"/>
                  <a:gd name="T12" fmla="*/ 15 w 25"/>
                  <a:gd name="T13" fmla="*/ 2 h 16"/>
                  <a:gd name="T14" fmla="*/ 24 w 25"/>
                  <a:gd name="T15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6">
                    <a:moveTo>
                      <a:pt x="24" y="1"/>
                    </a:moveTo>
                    <a:cubicBezTo>
                      <a:pt x="25" y="4"/>
                      <a:pt x="23" y="7"/>
                      <a:pt x="22" y="8"/>
                    </a:cubicBezTo>
                    <a:cubicBezTo>
                      <a:pt x="21" y="9"/>
                      <a:pt x="19" y="7"/>
                      <a:pt x="18" y="8"/>
                    </a:cubicBezTo>
                    <a:cubicBezTo>
                      <a:pt x="16" y="11"/>
                      <a:pt x="10" y="16"/>
                      <a:pt x="2" y="16"/>
                    </a:cubicBezTo>
                    <a:cubicBezTo>
                      <a:pt x="0" y="11"/>
                      <a:pt x="5" y="11"/>
                      <a:pt x="7" y="10"/>
                    </a:cubicBezTo>
                    <a:cubicBezTo>
                      <a:pt x="8" y="9"/>
                      <a:pt x="10" y="7"/>
                      <a:pt x="11" y="6"/>
                    </a:cubicBezTo>
                    <a:cubicBezTo>
                      <a:pt x="12" y="5"/>
                      <a:pt x="14" y="5"/>
                      <a:pt x="15" y="2"/>
                    </a:cubicBezTo>
                    <a:cubicBezTo>
                      <a:pt x="20" y="4"/>
                      <a:pt x="19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B3088D0F-AEAB-4685-95C3-6D8CD0388726}"/>
                  </a:ext>
                </a:extLst>
              </p:cNvPr>
              <p:cNvSpPr/>
              <p:nvPr/>
            </p:nvSpPr>
            <p:spPr bwMode="auto">
              <a:xfrm>
                <a:off x="8401509" y="2785009"/>
                <a:ext cx="28016" cy="39222"/>
              </a:xfrm>
              <a:custGeom>
                <a:avLst/>
                <a:gdLst>
                  <a:gd name="T0" fmla="*/ 2 w 13"/>
                  <a:gd name="T1" fmla="*/ 0 h 19"/>
                  <a:gd name="T2" fmla="*/ 4 w 13"/>
                  <a:gd name="T3" fmla="*/ 4 h 19"/>
                  <a:gd name="T4" fmla="*/ 9 w 13"/>
                  <a:gd name="T5" fmla="*/ 9 h 19"/>
                  <a:gd name="T6" fmla="*/ 11 w 13"/>
                  <a:gd name="T7" fmla="*/ 19 h 19"/>
                  <a:gd name="T8" fmla="*/ 6 w 13"/>
                  <a:gd name="T9" fmla="*/ 19 h 19"/>
                  <a:gd name="T10" fmla="*/ 0 w 13"/>
                  <a:gd name="T11" fmla="*/ 4 h 19"/>
                  <a:gd name="T12" fmla="*/ 2 w 1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9">
                    <a:moveTo>
                      <a:pt x="2" y="0"/>
                    </a:moveTo>
                    <a:cubicBezTo>
                      <a:pt x="4" y="0"/>
                      <a:pt x="3" y="2"/>
                      <a:pt x="4" y="4"/>
                    </a:cubicBezTo>
                    <a:cubicBezTo>
                      <a:pt x="2" y="6"/>
                      <a:pt x="12" y="7"/>
                      <a:pt x="9" y="9"/>
                    </a:cubicBezTo>
                    <a:cubicBezTo>
                      <a:pt x="6" y="13"/>
                      <a:pt x="13" y="10"/>
                      <a:pt x="11" y="19"/>
                    </a:cubicBezTo>
                    <a:cubicBezTo>
                      <a:pt x="8" y="19"/>
                      <a:pt x="6" y="16"/>
                      <a:pt x="6" y="19"/>
                    </a:cubicBezTo>
                    <a:cubicBezTo>
                      <a:pt x="3" y="16"/>
                      <a:pt x="2" y="8"/>
                      <a:pt x="0" y="4"/>
                    </a:cubicBezTo>
                    <a:cubicBezTo>
                      <a:pt x="2" y="4"/>
                      <a:pt x="1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11521A29-B068-4535-A895-B7D46B8E4658}"/>
                  </a:ext>
                </a:extLst>
              </p:cNvPr>
              <p:cNvSpPr/>
              <p:nvPr/>
            </p:nvSpPr>
            <p:spPr bwMode="auto">
              <a:xfrm>
                <a:off x="8408512" y="2820029"/>
                <a:ext cx="64436" cy="85448"/>
              </a:xfrm>
              <a:custGeom>
                <a:avLst/>
                <a:gdLst>
                  <a:gd name="T0" fmla="*/ 10 w 31"/>
                  <a:gd name="T1" fmla="*/ 0 h 41"/>
                  <a:gd name="T2" fmla="*/ 12 w 31"/>
                  <a:gd name="T3" fmla="*/ 2 h 41"/>
                  <a:gd name="T4" fmla="*/ 16 w 31"/>
                  <a:gd name="T5" fmla="*/ 2 h 41"/>
                  <a:gd name="T6" fmla="*/ 31 w 31"/>
                  <a:gd name="T7" fmla="*/ 9 h 41"/>
                  <a:gd name="T8" fmla="*/ 31 w 31"/>
                  <a:gd name="T9" fmla="*/ 19 h 41"/>
                  <a:gd name="T10" fmla="*/ 25 w 31"/>
                  <a:gd name="T11" fmla="*/ 19 h 41"/>
                  <a:gd name="T12" fmla="*/ 23 w 31"/>
                  <a:gd name="T13" fmla="*/ 22 h 41"/>
                  <a:gd name="T14" fmla="*/ 21 w 31"/>
                  <a:gd name="T15" fmla="*/ 33 h 41"/>
                  <a:gd name="T16" fmla="*/ 19 w 31"/>
                  <a:gd name="T17" fmla="*/ 37 h 41"/>
                  <a:gd name="T18" fmla="*/ 10 w 31"/>
                  <a:gd name="T19" fmla="*/ 39 h 41"/>
                  <a:gd name="T20" fmla="*/ 8 w 31"/>
                  <a:gd name="T21" fmla="*/ 33 h 41"/>
                  <a:gd name="T22" fmla="*/ 12 w 31"/>
                  <a:gd name="T23" fmla="*/ 30 h 41"/>
                  <a:gd name="T24" fmla="*/ 1 w 31"/>
                  <a:gd name="T25" fmla="*/ 24 h 41"/>
                  <a:gd name="T26" fmla="*/ 8 w 31"/>
                  <a:gd name="T27" fmla="*/ 17 h 41"/>
                  <a:gd name="T28" fmla="*/ 10 w 31"/>
                  <a:gd name="T2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" h="4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2" y="5"/>
                      <a:pt x="16" y="2"/>
                      <a:pt x="16" y="2"/>
                    </a:cubicBezTo>
                    <a:cubicBezTo>
                      <a:pt x="21" y="5"/>
                      <a:pt x="19" y="12"/>
                      <a:pt x="31" y="9"/>
                    </a:cubicBezTo>
                    <a:cubicBezTo>
                      <a:pt x="31" y="12"/>
                      <a:pt x="31" y="15"/>
                      <a:pt x="31" y="19"/>
                    </a:cubicBezTo>
                    <a:cubicBezTo>
                      <a:pt x="29" y="19"/>
                      <a:pt x="27" y="19"/>
                      <a:pt x="25" y="19"/>
                    </a:cubicBezTo>
                    <a:cubicBezTo>
                      <a:pt x="25" y="21"/>
                      <a:pt x="25" y="22"/>
                      <a:pt x="23" y="22"/>
                    </a:cubicBezTo>
                    <a:cubicBezTo>
                      <a:pt x="27" y="27"/>
                      <a:pt x="22" y="28"/>
                      <a:pt x="21" y="33"/>
                    </a:cubicBezTo>
                    <a:cubicBezTo>
                      <a:pt x="21" y="35"/>
                      <a:pt x="15" y="36"/>
                      <a:pt x="19" y="37"/>
                    </a:cubicBezTo>
                    <a:cubicBezTo>
                      <a:pt x="20" y="41"/>
                      <a:pt x="13" y="38"/>
                      <a:pt x="10" y="39"/>
                    </a:cubicBezTo>
                    <a:cubicBezTo>
                      <a:pt x="11" y="36"/>
                      <a:pt x="8" y="36"/>
                      <a:pt x="8" y="33"/>
                    </a:cubicBezTo>
                    <a:cubicBezTo>
                      <a:pt x="8" y="30"/>
                      <a:pt x="10" y="30"/>
                      <a:pt x="12" y="30"/>
                    </a:cubicBezTo>
                    <a:cubicBezTo>
                      <a:pt x="9" y="27"/>
                      <a:pt x="8" y="22"/>
                      <a:pt x="1" y="24"/>
                    </a:cubicBezTo>
                    <a:cubicBezTo>
                      <a:pt x="0" y="19"/>
                      <a:pt x="6" y="19"/>
                      <a:pt x="8" y="17"/>
                    </a:cubicBezTo>
                    <a:cubicBezTo>
                      <a:pt x="9" y="7"/>
                      <a:pt x="8" y="7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31178A76-BBA5-4322-8C1F-C7A77B5E6835}"/>
                  </a:ext>
                </a:extLst>
              </p:cNvPr>
              <p:cNvSpPr/>
              <p:nvPr/>
            </p:nvSpPr>
            <p:spPr bwMode="auto">
              <a:xfrm>
                <a:off x="7957460" y="2890068"/>
                <a:ext cx="51829" cy="56031"/>
              </a:xfrm>
              <a:custGeom>
                <a:avLst/>
                <a:gdLst>
                  <a:gd name="T0" fmla="*/ 24 w 25"/>
                  <a:gd name="T1" fmla="*/ 1 h 27"/>
                  <a:gd name="T2" fmla="*/ 24 w 25"/>
                  <a:gd name="T3" fmla="*/ 12 h 27"/>
                  <a:gd name="T4" fmla="*/ 22 w 25"/>
                  <a:gd name="T5" fmla="*/ 9 h 27"/>
                  <a:gd name="T6" fmla="*/ 20 w 25"/>
                  <a:gd name="T7" fmla="*/ 11 h 27"/>
                  <a:gd name="T8" fmla="*/ 20 w 25"/>
                  <a:gd name="T9" fmla="*/ 20 h 27"/>
                  <a:gd name="T10" fmla="*/ 16 w 25"/>
                  <a:gd name="T11" fmla="*/ 20 h 27"/>
                  <a:gd name="T12" fmla="*/ 16 w 25"/>
                  <a:gd name="T13" fmla="*/ 24 h 27"/>
                  <a:gd name="T14" fmla="*/ 11 w 25"/>
                  <a:gd name="T15" fmla="*/ 27 h 27"/>
                  <a:gd name="T16" fmla="*/ 7 w 25"/>
                  <a:gd name="T17" fmla="*/ 22 h 27"/>
                  <a:gd name="T18" fmla="*/ 3 w 25"/>
                  <a:gd name="T19" fmla="*/ 18 h 27"/>
                  <a:gd name="T20" fmla="*/ 0 w 25"/>
                  <a:gd name="T21" fmla="*/ 7 h 27"/>
                  <a:gd name="T22" fmla="*/ 15 w 25"/>
                  <a:gd name="T23" fmla="*/ 3 h 27"/>
                  <a:gd name="T24" fmla="*/ 24 w 25"/>
                  <a:gd name="T2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7">
                    <a:moveTo>
                      <a:pt x="24" y="1"/>
                    </a:moveTo>
                    <a:cubicBezTo>
                      <a:pt x="23" y="5"/>
                      <a:pt x="25" y="8"/>
                      <a:pt x="24" y="12"/>
                    </a:cubicBezTo>
                    <a:cubicBezTo>
                      <a:pt x="24" y="13"/>
                      <a:pt x="22" y="10"/>
                      <a:pt x="22" y="9"/>
                    </a:cubicBezTo>
                    <a:cubicBezTo>
                      <a:pt x="22" y="9"/>
                      <a:pt x="21" y="9"/>
                      <a:pt x="20" y="11"/>
                    </a:cubicBezTo>
                    <a:cubicBezTo>
                      <a:pt x="19" y="13"/>
                      <a:pt x="21" y="17"/>
                      <a:pt x="20" y="20"/>
                    </a:cubicBezTo>
                    <a:cubicBezTo>
                      <a:pt x="20" y="20"/>
                      <a:pt x="17" y="19"/>
                      <a:pt x="16" y="20"/>
                    </a:cubicBezTo>
                    <a:cubicBezTo>
                      <a:pt x="16" y="20"/>
                      <a:pt x="17" y="23"/>
                      <a:pt x="16" y="24"/>
                    </a:cubicBezTo>
                    <a:cubicBezTo>
                      <a:pt x="15" y="25"/>
                      <a:pt x="11" y="24"/>
                      <a:pt x="11" y="27"/>
                    </a:cubicBezTo>
                    <a:cubicBezTo>
                      <a:pt x="9" y="26"/>
                      <a:pt x="8" y="24"/>
                      <a:pt x="7" y="22"/>
                    </a:cubicBezTo>
                    <a:cubicBezTo>
                      <a:pt x="6" y="21"/>
                      <a:pt x="4" y="19"/>
                      <a:pt x="3" y="18"/>
                    </a:cubicBezTo>
                    <a:cubicBezTo>
                      <a:pt x="2" y="14"/>
                      <a:pt x="4" y="9"/>
                      <a:pt x="0" y="7"/>
                    </a:cubicBezTo>
                    <a:cubicBezTo>
                      <a:pt x="2" y="4"/>
                      <a:pt x="9" y="4"/>
                      <a:pt x="15" y="3"/>
                    </a:cubicBezTo>
                    <a:cubicBezTo>
                      <a:pt x="18" y="2"/>
                      <a:pt x="20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F010EE4A-C0C9-4842-8D22-7D942B23D6AD}"/>
                  </a:ext>
                </a:extLst>
              </p:cNvPr>
              <p:cNvSpPr/>
              <p:nvPr/>
            </p:nvSpPr>
            <p:spPr bwMode="auto">
              <a:xfrm>
                <a:off x="4511536" y="414885"/>
                <a:ext cx="952532" cy="710197"/>
              </a:xfrm>
              <a:custGeom>
                <a:avLst/>
                <a:gdLst>
                  <a:gd name="T0" fmla="*/ 325 w 458"/>
                  <a:gd name="T1" fmla="*/ 39 h 342"/>
                  <a:gd name="T2" fmla="*/ 343 w 458"/>
                  <a:gd name="T3" fmla="*/ 40 h 342"/>
                  <a:gd name="T4" fmla="*/ 370 w 458"/>
                  <a:gd name="T5" fmla="*/ 35 h 342"/>
                  <a:gd name="T6" fmla="*/ 384 w 458"/>
                  <a:gd name="T7" fmla="*/ 37 h 342"/>
                  <a:gd name="T8" fmla="*/ 383 w 458"/>
                  <a:gd name="T9" fmla="*/ 42 h 342"/>
                  <a:gd name="T10" fmla="*/ 431 w 458"/>
                  <a:gd name="T11" fmla="*/ 33 h 342"/>
                  <a:gd name="T12" fmla="*/ 457 w 458"/>
                  <a:gd name="T13" fmla="*/ 39 h 342"/>
                  <a:gd name="T14" fmla="*/ 424 w 458"/>
                  <a:gd name="T15" fmla="*/ 55 h 342"/>
                  <a:gd name="T16" fmla="*/ 414 w 458"/>
                  <a:gd name="T17" fmla="*/ 68 h 342"/>
                  <a:gd name="T18" fmla="*/ 397 w 458"/>
                  <a:gd name="T19" fmla="*/ 87 h 342"/>
                  <a:gd name="T20" fmla="*/ 401 w 458"/>
                  <a:gd name="T21" fmla="*/ 104 h 342"/>
                  <a:gd name="T22" fmla="*/ 390 w 458"/>
                  <a:gd name="T23" fmla="*/ 121 h 342"/>
                  <a:gd name="T24" fmla="*/ 403 w 458"/>
                  <a:gd name="T25" fmla="*/ 143 h 342"/>
                  <a:gd name="T26" fmla="*/ 392 w 458"/>
                  <a:gd name="T27" fmla="*/ 160 h 342"/>
                  <a:gd name="T28" fmla="*/ 379 w 458"/>
                  <a:gd name="T29" fmla="*/ 175 h 342"/>
                  <a:gd name="T30" fmla="*/ 397 w 458"/>
                  <a:gd name="T31" fmla="*/ 208 h 342"/>
                  <a:gd name="T32" fmla="*/ 368 w 458"/>
                  <a:gd name="T33" fmla="*/ 204 h 342"/>
                  <a:gd name="T34" fmla="*/ 366 w 458"/>
                  <a:gd name="T35" fmla="*/ 216 h 342"/>
                  <a:gd name="T36" fmla="*/ 353 w 458"/>
                  <a:gd name="T37" fmla="*/ 234 h 342"/>
                  <a:gd name="T38" fmla="*/ 323 w 458"/>
                  <a:gd name="T39" fmla="*/ 242 h 342"/>
                  <a:gd name="T40" fmla="*/ 308 w 458"/>
                  <a:gd name="T41" fmla="*/ 251 h 342"/>
                  <a:gd name="T42" fmla="*/ 299 w 458"/>
                  <a:gd name="T43" fmla="*/ 262 h 342"/>
                  <a:gd name="T44" fmla="*/ 258 w 458"/>
                  <a:gd name="T45" fmla="*/ 273 h 342"/>
                  <a:gd name="T46" fmla="*/ 247 w 458"/>
                  <a:gd name="T47" fmla="*/ 290 h 342"/>
                  <a:gd name="T48" fmla="*/ 235 w 458"/>
                  <a:gd name="T49" fmla="*/ 305 h 342"/>
                  <a:gd name="T50" fmla="*/ 232 w 458"/>
                  <a:gd name="T51" fmla="*/ 320 h 342"/>
                  <a:gd name="T52" fmla="*/ 207 w 458"/>
                  <a:gd name="T53" fmla="*/ 335 h 342"/>
                  <a:gd name="T54" fmla="*/ 181 w 458"/>
                  <a:gd name="T55" fmla="*/ 322 h 342"/>
                  <a:gd name="T56" fmla="*/ 166 w 458"/>
                  <a:gd name="T57" fmla="*/ 303 h 342"/>
                  <a:gd name="T58" fmla="*/ 157 w 458"/>
                  <a:gd name="T59" fmla="*/ 290 h 342"/>
                  <a:gd name="T60" fmla="*/ 150 w 458"/>
                  <a:gd name="T61" fmla="*/ 262 h 342"/>
                  <a:gd name="T62" fmla="*/ 153 w 458"/>
                  <a:gd name="T63" fmla="*/ 253 h 342"/>
                  <a:gd name="T64" fmla="*/ 166 w 458"/>
                  <a:gd name="T65" fmla="*/ 238 h 342"/>
                  <a:gd name="T66" fmla="*/ 159 w 458"/>
                  <a:gd name="T67" fmla="*/ 219 h 342"/>
                  <a:gd name="T68" fmla="*/ 163 w 458"/>
                  <a:gd name="T69" fmla="*/ 204 h 342"/>
                  <a:gd name="T70" fmla="*/ 144 w 458"/>
                  <a:gd name="T71" fmla="*/ 199 h 342"/>
                  <a:gd name="T72" fmla="*/ 131 w 458"/>
                  <a:gd name="T73" fmla="*/ 175 h 342"/>
                  <a:gd name="T74" fmla="*/ 118 w 458"/>
                  <a:gd name="T75" fmla="*/ 148 h 342"/>
                  <a:gd name="T76" fmla="*/ 84 w 458"/>
                  <a:gd name="T77" fmla="*/ 132 h 342"/>
                  <a:gd name="T78" fmla="*/ 38 w 458"/>
                  <a:gd name="T79" fmla="*/ 134 h 342"/>
                  <a:gd name="T80" fmla="*/ 38 w 458"/>
                  <a:gd name="T81" fmla="*/ 122 h 342"/>
                  <a:gd name="T82" fmla="*/ 19 w 458"/>
                  <a:gd name="T83" fmla="*/ 106 h 342"/>
                  <a:gd name="T84" fmla="*/ 28 w 458"/>
                  <a:gd name="T85" fmla="*/ 89 h 342"/>
                  <a:gd name="T86" fmla="*/ 51 w 458"/>
                  <a:gd name="T87" fmla="*/ 80 h 342"/>
                  <a:gd name="T88" fmla="*/ 55 w 458"/>
                  <a:gd name="T89" fmla="*/ 68 h 342"/>
                  <a:gd name="T90" fmla="*/ 49 w 458"/>
                  <a:gd name="T91" fmla="*/ 61 h 342"/>
                  <a:gd name="T92" fmla="*/ 66 w 458"/>
                  <a:gd name="T93" fmla="*/ 55 h 342"/>
                  <a:gd name="T94" fmla="*/ 84 w 458"/>
                  <a:gd name="T95" fmla="*/ 37 h 342"/>
                  <a:gd name="T96" fmla="*/ 140 w 458"/>
                  <a:gd name="T97" fmla="*/ 29 h 342"/>
                  <a:gd name="T98" fmla="*/ 166 w 458"/>
                  <a:gd name="T99" fmla="*/ 37 h 342"/>
                  <a:gd name="T100" fmla="*/ 191 w 458"/>
                  <a:gd name="T101" fmla="*/ 24 h 342"/>
                  <a:gd name="T102" fmla="*/ 213 w 458"/>
                  <a:gd name="T103" fmla="*/ 25 h 342"/>
                  <a:gd name="T104" fmla="*/ 220 w 458"/>
                  <a:gd name="T105" fmla="*/ 12 h 342"/>
                  <a:gd name="T106" fmla="*/ 263 w 458"/>
                  <a:gd name="T107" fmla="*/ 3 h 342"/>
                  <a:gd name="T108" fmla="*/ 323 w 458"/>
                  <a:gd name="T109" fmla="*/ 1 h 342"/>
                  <a:gd name="T110" fmla="*/ 368 w 458"/>
                  <a:gd name="T111" fmla="*/ 16 h 342"/>
                  <a:gd name="T112" fmla="*/ 383 w 458"/>
                  <a:gd name="T113" fmla="*/ 27 h 342"/>
                  <a:gd name="T114" fmla="*/ 319 w 458"/>
                  <a:gd name="T115" fmla="*/ 2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8" h="342">
                    <a:moveTo>
                      <a:pt x="310" y="35"/>
                    </a:moveTo>
                    <a:cubicBezTo>
                      <a:pt x="310" y="37"/>
                      <a:pt x="314" y="36"/>
                      <a:pt x="314" y="39"/>
                    </a:cubicBezTo>
                    <a:cubicBezTo>
                      <a:pt x="316" y="40"/>
                      <a:pt x="319" y="37"/>
                      <a:pt x="319" y="37"/>
                    </a:cubicBezTo>
                    <a:cubicBezTo>
                      <a:pt x="322" y="36"/>
                      <a:pt x="322" y="39"/>
                      <a:pt x="325" y="39"/>
                    </a:cubicBezTo>
                    <a:cubicBezTo>
                      <a:pt x="326" y="38"/>
                      <a:pt x="327" y="37"/>
                      <a:pt x="329" y="37"/>
                    </a:cubicBezTo>
                    <a:cubicBezTo>
                      <a:pt x="330" y="36"/>
                      <a:pt x="332" y="37"/>
                      <a:pt x="334" y="37"/>
                    </a:cubicBezTo>
                    <a:cubicBezTo>
                      <a:pt x="341" y="35"/>
                      <a:pt x="349" y="32"/>
                      <a:pt x="355" y="35"/>
                    </a:cubicBezTo>
                    <a:cubicBezTo>
                      <a:pt x="353" y="39"/>
                      <a:pt x="345" y="36"/>
                      <a:pt x="343" y="40"/>
                    </a:cubicBezTo>
                    <a:cubicBezTo>
                      <a:pt x="344" y="44"/>
                      <a:pt x="347" y="40"/>
                      <a:pt x="347" y="40"/>
                    </a:cubicBezTo>
                    <a:cubicBezTo>
                      <a:pt x="351" y="41"/>
                      <a:pt x="351" y="43"/>
                      <a:pt x="356" y="40"/>
                    </a:cubicBezTo>
                    <a:cubicBezTo>
                      <a:pt x="358" y="40"/>
                      <a:pt x="359" y="39"/>
                      <a:pt x="360" y="39"/>
                    </a:cubicBezTo>
                    <a:cubicBezTo>
                      <a:pt x="361" y="38"/>
                      <a:pt x="369" y="35"/>
                      <a:pt x="370" y="35"/>
                    </a:cubicBezTo>
                    <a:cubicBezTo>
                      <a:pt x="373" y="40"/>
                      <a:pt x="368" y="33"/>
                      <a:pt x="371" y="33"/>
                    </a:cubicBezTo>
                    <a:cubicBezTo>
                      <a:pt x="372" y="33"/>
                      <a:pt x="377" y="33"/>
                      <a:pt x="377" y="33"/>
                    </a:cubicBezTo>
                    <a:cubicBezTo>
                      <a:pt x="378" y="32"/>
                      <a:pt x="381" y="30"/>
                      <a:pt x="386" y="31"/>
                    </a:cubicBezTo>
                    <a:cubicBezTo>
                      <a:pt x="386" y="34"/>
                      <a:pt x="387" y="36"/>
                      <a:pt x="384" y="37"/>
                    </a:cubicBezTo>
                    <a:cubicBezTo>
                      <a:pt x="384" y="38"/>
                      <a:pt x="382" y="39"/>
                      <a:pt x="381" y="40"/>
                    </a:cubicBezTo>
                    <a:cubicBezTo>
                      <a:pt x="379" y="43"/>
                      <a:pt x="378" y="47"/>
                      <a:pt x="373" y="46"/>
                    </a:cubicBezTo>
                    <a:cubicBezTo>
                      <a:pt x="374" y="52"/>
                      <a:pt x="377" y="44"/>
                      <a:pt x="381" y="46"/>
                    </a:cubicBezTo>
                    <a:cubicBezTo>
                      <a:pt x="383" y="47"/>
                      <a:pt x="382" y="43"/>
                      <a:pt x="383" y="42"/>
                    </a:cubicBezTo>
                    <a:cubicBezTo>
                      <a:pt x="385" y="41"/>
                      <a:pt x="392" y="43"/>
                      <a:pt x="392" y="39"/>
                    </a:cubicBezTo>
                    <a:cubicBezTo>
                      <a:pt x="396" y="45"/>
                      <a:pt x="408" y="36"/>
                      <a:pt x="411" y="40"/>
                    </a:cubicBezTo>
                    <a:cubicBezTo>
                      <a:pt x="412" y="39"/>
                      <a:pt x="414" y="37"/>
                      <a:pt x="416" y="35"/>
                    </a:cubicBezTo>
                    <a:cubicBezTo>
                      <a:pt x="422" y="37"/>
                      <a:pt x="426" y="33"/>
                      <a:pt x="431" y="33"/>
                    </a:cubicBezTo>
                    <a:cubicBezTo>
                      <a:pt x="430" y="33"/>
                      <a:pt x="432" y="35"/>
                      <a:pt x="433" y="35"/>
                    </a:cubicBezTo>
                    <a:cubicBezTo>
                      <a:pt x="434" y="35"/>
                      <a:pt x="441" y="34"/>
                      <a:pt x="442" y="35"/>
                    </a:cubicBezTo>
                    <a:cubicBezTo>
                      <a:pt x="444" y="37"/>
                      <a:pt x="443" y="34"/>
                      <a:pt x="446" y="35"/>
                    </a:cubicBezTo>
                    <a:cubicBezTo>
                      <a:pt x="449" y="36"/>
                      <a:pt x="453" y="39"/>
                      <a:pt x="457" y="39"/>
                    </a:cubicBezTo>
                    <a:cubicBezTo>
                      <a:pt x="458" y="42"/>
                      <a:pt x="455" y="41"/>
                      <a:pt x="453" y="42"/>
                    </a:cubicBezTo>
                    <a:cubicBezTo>
                      <a:pt x="452" y="43"/>
                      <a:pt x="451" y="45"/>
                      <a:pt x="450" y="46"/>
                    </a:cubicBezTo>
                    <a:cubicBezTo>
                      <a:pt x="445" y="48"/>
                      <a:pt x="437" y="47"/>
                      <a:pt x="437" y="53"/>
                    </a:cubicBezTo>
                    <a:cubicBezTo>
                      <a:pt x="432" y="53"/>
                      <a:pt x="426" y="53"/>
                      <a:pt x="424" y="55"/>
                    </a:cubicBezTo>
                    <a:cubicBezTo>
                      <a:pt x="426" y="58"/>
                      <a:pt x="430" y="59"/>
                      <a:pt x="422" y="59"/>
                    </a:cubicBezTo>
                    <a:cubicBezTo>
                      <a:pt x="422" y="61"/>
                      <a:pt x="425" y="61"/>
                      <a:pt x="427" y="61"/>
                    </a:cubicBezTo>
                    <a:cubicBezTo>
                      <a:pt x="424" y="66"/>
                      <a:pt x="415" y="65"/>
                      <a:pt x="414" y="72"/>
                    </a:cubicBezTo>
                    <a:cubicBezTo>
                      <a:pt x="411" y="72"/>
                      <a:pt x="415" y="69"/>
                      <a:pt x="414" y="68"/>
                    </a:cubicBezTo>
                    <a:cubicBezTo>
                      <a:pt x="413" y="68"/>
                      <a:pt x="408" y="71"/>
                      <a:pt x="405" y="72"/>
                    </a:cubicBezTo>
                    <a:cubicBezTo>
                      <a:pt x="405" y="74"/>
                      <a:pt x="407" y="73"/>
                      <a:pt x="409" y="74"/>
                    </a:cubicBezTo>
                    <a:cubicBezTo>
                      <a:pt x="404" y="78"/>
                      <a:pt x="407" y="77"/>
                      <a:pt x="405" y="83"/>
                    </a:cubicBezTo>
                    <a:cubicBezTo>
                      <a:pt x="405" y="85"/>
                      <a:pt x="398" y="86"/>
                      <a:pt x="397" y="87"/>
                    </a:cubicBezTo>
                    <a:cubicBezTo>
                      <a:pt x="397" y="88"/>
                      <a:pt x="398" y="92"/>
                      <a:pt x="397" y="93"/>
                    </a:cubicBezTo>
                    <a:cubicBezTo>
                      <a:pt x="396" y="94"/>
                      <a:pt x="392" y="93"/>
                      <a:pt x="390" y="94"/>
                    </a:cubicBezTo>
                    <a:cubicBezTo>
                      <a:pt x="391" y="97"/>
                      <a:pt x="393" y="97"/>
                      <a:pt x="394" y="100"/>
                    </a:cubicBezTo>
                    <a:cubicBezTo>
                      <a:pt x="395" y="104"/>
                      <a:pt x="399" y="102"/>
                      <a:pt x="401" y="104"/>
                    </a:cubicBezTo>
                    <a:cubicBezTo>
                      <a:pt x="402" y="104"/>
                      <a:pt x="401" y="107"/>
                      <a:pt x="401" y="107"/>
                    </a:cubicBezTo>
                    <a:cubicBezTo>
                      <a:pt x="403" y="109"/>
                      <a:pt x="406" y="108"/>
                      <a:pt x="407" y="109"/>
                    </a:cubicBezTo>
                    <a:cubicBezTo>
                      <a:pt x="407" y="113"/>
                      <a:pt x="409" y="113"/>
                      <a:pt x="409" y="117"/>
                    </a:cubicBezTo>
                    <a:cubicBezTo>
                      <a:pt x="403" y="119"/>
                      <a:pt x="397" y="117"/>
                      <a:pt x="390" y="121"/>
                    </a:cubicBezTo>
                    <a:cubicBezTo>
                      <a:pt x="395" y="125"/>
                      <a:pt x="399" y="131"/>
                      <a:pt x="409" y="130"/>
                    </a:cubicBezTo>
                    <a:cubicBezTo>
                      <a:pt x="408" y="133"/>
                      <a:pt x="410" y="133"/>
                      <a:pt x="412" y="134"/>
                    </a:cubicBezTo>
                    <a:cubicBezTo>
                      <a:pt x="413" y="138"/>
                      <a:pt x="409" y="136"/>
                      <a:pt x="409" y="139"/>
                    </a:cubicBezTo>
                    <a:cubicBezTo>
                      <a:pt x="409" y="141"/>
                      <a:pt x="406" y="143"/>
                      <a:pt x="403" y="143"/>
                    </a:cubicBezTo>
                    <a:cubicBezTo>
                      <a:pt x="401" y="150"/>
                      <a:pt x="410" y="146"/>
                      <a:pt x="409" y="152"/>
                    </a:cubicBezTo>
                    <a:cubicBezTo>
                      <a:pt x="405" y="152"/>
                      <a:pt x="405" y="154"/>
                      <a:pt x="407" y="154"/>
                    </a:cubicBezTo>
                    <a:cubicBezTo>
                      <a:pt x="405" y="160"/>
                      <a:pt x="401" y="153"/>
                      <a:pt x="397" y="154"/>
                    </a:cubicBezTo>
                    <a:cubicBezTo>
                      <a:pt x="394" y="154"/>
                      <a:pt x="396" y="160"/>
                      <a:pt x="392" y="160"/>
                    </a:cubicBezTo>
                    <a:cubicBezTo>
                      <a:pt x="392" y="163"/>
                      <a:pt x="393" y="164"/>
                      <a:pt x="396" y="165"/>
                    </a:cubicBezTo>
                    <a:cubicBezTo>
                      <a:pt x="395" y="168"/>
                      <a:pt x="391" y="166"/>
                      <a:pt x="388" y="167"/>
                    </a:cubicBezTo>
                    <a:cubicBezTo>
                      <a:pt x="383" y="168"/>
                      <a:pt x="378" y="172"/>
                      <a:pt x="373" y="173"/>
                    </a:cubicBezTo>
                    <a:cubicBezTo>
                      <a:pt x="373" y="175"/>
                      <a:pt x="377" y="174"/>
                      <a:pt x="379" y="175"/>
                    </a:cubicBezTo>
                    <a:cubicBezTo>
                      <a:pt x="381" y="176"/>
                      <a:pt x="382" y="182"/>
                      <a:pt x="386" y="180"/>
                    </a:cubicBezTo>
                    <a:cubicBezTo>
                      <a:pt x="388" y="184"/>
                      <a:pt x="383" y="184"/>
                      <a:pt x="383" y="186"/>
                    </a:cubicBezTo>
                    <a:cubicBezTo>
                      <a:pt x="382" y="188"/>
                      <a:pt x="385" y="194"/>
                      <a:pt x="381" y="195"/>
                    </a:cubicBezTo>
                    <a:cubicBezTo>
                      <a:pt x="383" y="202"/>
                      <a:pt x="396" y="200"/>
                      <a:pt x="397" y="208"/>
                    </a:cubicBezTo>
                    <a:cubicBezTo>
                      <a:pt x="395" y="208"/>
                      <a:pt x="390" y="209"/>
                      <a:pt x="390" y="206"/>
                    </a:cubicBezTo>
                    <a:cubicBezTo>
                      <a:pt x="388" y="207"/>
                      <a:pt x="389" y="208"/>
                      <a:pt x="390" y="208"/>
                    </a:cubicBezTo>
                    <a:cubicBezTo>
                      <a:pt x="385" y="214"/>
                      <a:pt x="382" y="213"/>
                      <a:pt x="373" y="212"/>
                    </a:cubicBezTo>
                    <a:cubicBezTo>
                      <a:pt x="376" y="205"/>
                      <a:pt x="365" y="211"/>
                      <a:pt x="368" y="204"/>
                    </a:cubicBezTo>
                    <a:cubicBezTo>
                      <a:pt x="362" y="203"/>
                      <a:pt x="362" y="208"/>
                      <a:pt x="356" y="206"/>
                    </a:cubicBezTo>
                    <a:cubicBezTo>
                      <a:pt x="359" y="209"/>
                      <a:pt x="358" y="210"/>
                      <a:pt x="355" y="210"/>
                    </a:cubicBezTo>
                    <a:cubicBezTo>
                      <a:pt x="355" y="213"/>
                      <a:pt x="366" y="213"/>
                      <a:pt x="356" y="214"/>
                    </a:cubicBezTo>
                    <a:cubicBezTo>
                      <a:pt x="358" y="218"/>
                      <a:pt x="363" y="215"/>
                      <a:pt x="366" y="216"/>
                    </a:cubicBezTo>
                    <a:cubicBezTo>
                      <a:pt x="370" y="216"/>
                      <a:pt x="375" y="219"/>
                      <a:pt x="381" y="217"/>
                    </a:cubicBezTo>
                    <a:cubicBezTo>
                      <a:pt x="377" y="223"/>
                      <a:pt x="372" y="228"/>
                      <a:pt x="368" y="232"/>
                    </a:cubicBezTo>
                    <a:cubicBezTo>
                      <a:pt x="363" y="231"/>
                      <a:pt x="360" y="233"/>
                      <a:pt x="356" y="234"/>
                    </a:cubicBezTo>
                    <a:cubicBezTo>
                      <a:pt x="356" y="234"/>
                      <a:pt x="353" y="234"/>
                      <a:pt x="353" y="234"/>
                    </a:cubicBezTo>
                    <a:cubicBezTo>
                      <a:pt x="351" y="236"/>
                      <a:pt x="352" y="234"/>
                      <a:pt x="349" y="234"/>
                    </a:cubicBezTo>
                    <a:cubicBezTo>
                      <a:pt x="344" y="234"/>
                      <a:pt x="339" y="238"/>
                      <a:pt x="332" y="238"/>
                    </a:cubicBezTo>
                    <a:cubicBezTo>
                      <a:pt x="329" y="238"/>
                      <a:pt x="332" y="240"/>
                      <a:pt x="332" y="240"/>
                    </a:cubicBezTo>
                    <a:cubicBezTo>
                      <a:pt x="330" y="244"/>
                      <a:pt x="329" y="241"/>
                      <a:pt x="323" y="242"/>
                    </a:cubicBezTo>
                    <a:cubicBezTo>
                      <a:pt x="323" y="243"/>
                      <a:pt x="325" y="243"/>
                      <a:pt x="327" y="244"/>
                    </a:cubicBezTo>
                    <a:cubicBezTo>
                      <a:pt x="327" y="246"/>
                      <a:pt x="313" y="248"/>
                      <a:pt x="315" y="242"/>
                    </a:cubicBezTo>
                    <a:cubicBezTo>
                      <a:pt x="314" y="243"/>
                      <a:pt x="309" y="242"/>
                      <a:pt x="308" y="244"/>
                    </a:cubicBezTo>
                    <a:cubicBezTo>
                      <a:pt x="307" y="245"/>
                      <a:pt x="309" y="249"/>
                      <a:pt x="308" y="251"/>
                    </a:cubicBezTo>
                    <a:cubicBezTo>
                      <a:pt x="308" y="251"/>
                      <a:pt x="303" y="249"/>
                      <a:pt x="302" y="251"/>
                    </a:cubicBezTo>
                    <a:cubicBezTo>
                      <a:pt x="302" y="252"/>
                      <a:pt x="305" y="254"/>
                      <a:pt x="304" y="257"/>
                    </a:cubicBezTo>
                    <a:cubicBezTo>
                      <a:pt x="302" y="259"/>
                      <a:pt x="301" y="257"/>
                      <a:pt x="299" y="257"/>
                    </a:cubicBezTo>
                    <a:cubicBezTo>
                      <a:pt x="299" y="258"/>
                      <a:pt x="299" y="260"/>
                      <a:pt x="299" y="262"/>
                    </a:cubicBezTo>
                    <a:cubicBezTo>
                      <a:pt x="298" y="262"/>
                      <a:pt x="296" y="262"/>
                      <a:pt x="295" y="262"/>
                    </a:cubicBezTo>
                    <a:cubicBezTo>
                      <a:pt x="293" y="263"/>
                      <a:pt x="295" y="265"/>
                      <a:pt x="293" y="266"/>
                    </a:cubicBezTo>
                    <a:cubicBezTo>
                      <a:pt x="290" y="267"/>
                      <a:pt x="282" y="265"/>
                      <a:pt x="284" y="271"/>
                    </a:cubicBezTo>
                    <a:cubicBezTo>
                      <a:pt x="276" y="273"/>
                      <a:pt x="267" y="274"/>
                      <a:pt x="258" y="273"/>
                    </a:cubicBezTo>
                    <a:cubicBezTo>
                      <a:pt x="254" y="276"/>
                      <a:pt x="252" y="285"/>
                      <a:pt x="247" y="281"/>
                    </a:cubicBezTo>
                    <a:cubicBezTo>
                      <a:pt x="247" y="282"/>
                      <a:pt x="249" y="284"/>
                      <a:pt x="248" y="286"/>
                    </a:cubicBezTo>
                    <a:cubicBezTo>
                      <a:pt x="248" y="287"/>
                      <a:pt x="245" y="286"/>
                      <a:pt x="245" y="286"/>
                    </a:cubicBezTo>
                    <a:cubicBezTo>
                      <a:pt x="244" y="287"/>
                      <a:pt x="247" y="289"/>
                      <a:pt x="247" y="290"/>
                    </a:cubicBezTo>
                    <a:cubicBezTo>
                      <a:pt x="247" y="290"/>
                      <a:pt x="245" y="291"/>
                      <a:pt x="245" y="292"/>
                    </a:cubicBezTo>
                    <a:cubicBezTo>
                      <a:pt x="245" y="294"/>
                      <a:pt x="239" y="298"/>
                      <a:pt x="243" y="299"/>
                    </a:cubicBezTo>
                    <a:cubicBezTo>
                      <a:pt x="243" y="302"/>
                      <a:pt x="240" y="300"/>
                      <a:pt x="239" y="301"/>
                    </a:cubicBezTo>
                    <a:cubicBezTo>
                      <a:pt x="238" y="302"/>
                      <a:pt x="236" y="304"/>
                      <a:pt x="235" y="305"/>
                    </a:cubicBezTo>
                    <a:cubicBezTo>
                      <a:pt x="235" y="306"/>
                      <a:pt x="236" y="308"/>
                      <a:pt x="235" y="309"/>
                    </a:cubicBezTo>
                    <a:cubicBezTo>
                      <a:pt x="233" y="311"/>
                      <a:pt x="235" y="313"/>
                      <a:pt x="233" y="316"/>
                    </a:cubicBezTo>
                    <a:cubicBezTo>
                      <a:pt x="233" y="317"/>
                      <a:pt x="230" y="316"/>
                      <a:pt x="230" y="316"/>
                    </a:cubicBezTo>
                    <a:cubicBezTo>
                      <a:pt x="230" y="317"/>
                      <a:pt x="231" y="319"/>
                      <a:pt x="232" y="320"/>
                    </a:cubicBezTo>
                    <a:cubicBezTo>
                      <a:pt x="232" y="323"/>
                      <a:pt x="230" y="323"/>
                      <a:pt x="230" y="326"/>
                    </a:cubicBezTo>
                    <a:cubicBezTo>
                      <a:pt x="230" y="327"/>
                      <a:pt x="231" y="330"/>
                      <a:pt x="232" y="329"/>
                    </a:cubicBezTo>
                    <a:cubicBezTo>
                      <a:pt x="229" y="336"/>
                      <a:pt x="226" y="338"/>
                      <a:pt x="220" y="342"/>
                    </a:cubicBezTo>
                    <a:cubicBezTo>
                      <a:pt x="214" y="342"/>
                      <a:pt x="211" y="338"/>
                      <a:pt x="207" y="335"/>
                    </a:cubicBezTo>
                    <a:cubicBezTo>
                      <a:pt x="202" y="342"/>
                      <a:pt x="191" y="331"/>
                      <a:pt x="192" y="331"/>
                    </a:cubicBezTo>
                    <a:cubicBezTo>
                      <a:pt x="191" y="331"/>
                      <a:pt x="190" y="335"/>
                      <a:pt x="191" y="335"/>
                    </a:cubicBezTo>
                    <a:cubicBezTo>
                      <a:pt x="188" y="334"/>
                      <a:pt x="188" y="331"/>
                      <a:pt x="187" y="329"/>
                    </a:cubicBezTo>
                    <a:cubicBezTo>
                      <a:pt x="185" y="327"/>
                      <a:pt x="180" y="327"/>
                      <a:pt x="181" y="322"/>
                    </a:cubicBezTo>
                    <a:cubicBezTo>
                      <a:pt x="179" y="319"/>
                      <a:pt x="176" y="318"/>
                      <a:pt x="174" y="316"/>
                    </a:cubicBezTo>
                    <a:cubicBezTo>
                      <a:pt x="174" y="314"/>
                      <a:pt x="176" y="315"/>
                      <a:pt x="178" y="314"/>
                    </a:cubicBezTo>
                    <a:cubicBezTo>
                      <a:pt x="177" y="310"/>
                      <a:pt x="173" y="312"/>
                      <a:pt x="170" y="309"/>
                    </a:cubicBezTo>
                    <a:cubicBezTo>
                      <a:pt x="169" y="307"/>
                      <a:pt x="169" y="304"/>
                      <a:pt x="166" y="303"/>
                    </a:cubicBezTo>
                    <a:cubicBezTo>
                      <a:pt x="163" y="307"/>
                      <a:pt x="166" y="300"/>
                      <a:pt x="166" y="301"/>
                    </a:cubicBezTo>
                    <a:cubicBezTo>
                      <a:pt x="166" y="299"/>
                      <a:pt x="164" y="301"/>
                      <a:pt x="163" y="299"/>
                    </a:cubicBezTo>
                    <a:cubicBezTo>
                      <a:pt x="161" y="297"/>
                      <a:pt x="164" y="294"/>
                      <a:pt x="161" y="294"/>
                    </a:cubicBezTo>
                    <a:cubicBezTo>
                      <a:pt x="157" y="294"/>
                      <a:pt x="160" y="286"/>
                      <a:pt x="157" y="290"/>
                    </a:cubicBezTo>
                    <a:cubicBezTo>
                      <a:pt x="155" y="289"/>
                      <a:pt x="155" y="286"/>
                      <a:pt x="151" y="286"/>
                    </a:cubicBezTo>
                    <a:cubicBezTo>
                      <a:pt x="152" y="284"/>
                      <a:pt x="155" y="283"/>
                      <a:pt x="155" y="281"/>
                    </a:cubicBezTo>
                    <a:cubicBezTo>
                      <a:pt x="155" y="278"/>
                      <a:pt x="151" y="279"/>
                      <a:pt x="148" y="279"/>
                    </a:cubicBezTo>
                    <a:cubicBezTo>
                      <a:pt x="146" y="272"/>
                      <a:pt x="147" y="269"/>
                      <a:pt x="150" y="262"/>
                    </a:cubicBezTo>
                    <a:cubicBezTo>
                      <a:pt x="145" y="259"/>
                      <a:pt x="153" y="256"/>
                      <a:pt x="146" y="257"/>
                    </a:cubicBezTo>
                    <a:cubicBezTo>
                      <a:pt x="145" y="254"/>
                      <a:pt x="149" y="256"/>
                      <a:pt x="150" y="255"/>
                    </a:cubicBezTo>
                    <a:cubicBezTo>
                      <a:pt x="150" y="254"/>
                      <a:pt x="149" y="251"/>
                      <a:pt x="150" y="251"/>
                    </a:cubicBezTo>
                    <a:cubicBezTo>
                      <a:pt x="151" y="251"/>
                      <a:pt x="152" y="253"/>
                      <a:pt x="153" y="253"/>
                    </a:cubicBezTo>
                    <a:cubicBezTo>
                      <a:pt x="153" y="249"/>
                      <a:pt x="153" y="245"/>
                      <a:pt x="153" y="242"/>
                    </a:cubicBezTo>
                    <a:cubicBezTo>
                      <a:pt x="156" y="242"/>
                      <a:pt x="158" y="240"/>
                      <a:pt x="159" y="238"/>
                    </a:cubicBezTo>
                    <a:cubicBezTo>
                      <a:pt x="161" y="238"/>
                      <a:pt x="160" y="240"/>
                      <a:pt x="161" y="242"/>
                    </a:cubicBezTo>
                    <a:cubicBezTo>
                      <a:pt x="163" y="240"/>
                      <a:pt x="163" y="237"/>
                      <a:pt x="166" y="238"/>
                    </a:cubicBezTo>
                    <a:cubicBezTo>
                      <a:pt x="168" y="236"/>
                      <a:pt x="164" y="235"/>
                      <a:pt x="164" y="234"/>
                    </a:cubicBezTo>
                    <a:cubicBezTo>
                      <a:pt x="165" y="232"/>
                      <a:pt x="170" y="232"/>
                      <a:pt x="170" y="230"/>
                    </a:cubicBezTo>
                    <a:cubicBezTo>
                      <a:pt x="171" y="227"/>
                      <a:pt x="164" y="226"/>
                      <a:pt x="168" y="221"/>
                    </a:cubicBezTo>
                    <a:cubicBezTo>
                      <a:pt x="160" y="226"/>
                      <a:pt x="172" y="217"/>
                      <a:pt x="159" y="219"/>
                    </a:cubicBezTo>
                    <a:cubicBezTo>
                      <a:pt x="158" y="213"/>
                      <a:pt x="164" y="214"/>
                      <a:pt x="170" y="214"/>
                    </a:cubicBezTo>
                    <a:cubicBezTo>
                      <a:pt x="170" y="212"/>
                      <a:pt x="166" y="212"/>
                      <a:pt x="166" y="210"/>
                    </a:cubicBezTo>
                    <a:cubicBezTo>
                      <a:pt x="167" y="208"/>
                      <a:pt x="164" y="209"/>
                      <a:pt x="163" y="208"/>
                    </a:cubicBezTo>
                    <a:cubicBezTo>
                      <a:pt x="162" y="208"/>
                      <a:pt x="163" y="205"/>
                      <a:pt x="163" y="204"/>
                    </a:cubicBezTo>
                    <a:cubicBezTo>
                      <a:pt x="162" y="204"/>
                      <a:pt x="158" y="201"/>
                      <a:pt x="157" y="201"/>
                    </a:cubicBezTo>
                    <a:cubicBezTo>
                      <a:pt x="156" y="201"/>
                      <a:pt x="154" y="196"/>
                      <a:pt x="151" y="193"/>
                    </a:cubicBezTo>
                    <a:cubicBezTo>
                      <a:pt x="149" y="196"/>
                      <a:pt x="148" y="199"/>
                      <a:pt x="146" y="193"/>
                    </a:cubicBezTo>
                    <a:cubicBezTo>
                      <a:pt x="144" y="194"/>
                      <a:pt x="144" y="197"/>
                      <a:pt x="144" y="199"/>
                    </a:cubicBezTo>
                    <a:cubicBezTo>
                      <a:pt x="141" y="199"/>
                      <a:pt x="138" y="199"/>
                      <a:pt x="135" y="199"/>
                    </a:cubicBezTo>
                    <a:cubicBezTo>
                      <a:pt x="129" y="191"/>
                      <a:pt x="133" y="185"/>
                      <a:pt x="135" y="176"/>
                    </a:cubicBezTo>
                    <a:cubicBezTo>
                      <a:pt x="134" y="175"/>
                      <a:pt x="133" y="173"/>
                      <a:pt x="133" y="171"/>
                    </a:cubicBezTo>
                    <a:cubicBezTo>
                      <a:pt x="131" y="171"/>
                      <a:pt x="131" y="173"/>
                      <a:pt x="131" y="175"/>
                    </a:cubicBezTo>
                    <a:cubicBezTo>
                      <a:pt x="126" y="175"/>
                      <a:pt x="133" y="164"/>
                      <a:pt x="125" y="167"/>
                    </a:cubicBezTo>
                    <a:cubicBezTo>
                      <a:pt x="128" y="164"/>
                      <a:pt x="128" y="162"/>
                      <a:pt x="125" y="160"/>
                    </a:cubicBezTo>
                    <a:cubicBezTo>
                      <a:pt x="125" y="157"/>
                      <a:pt x="122" y="158"/>
                      <a:pt x="120" y="158"/>
                    </a:cubicBezTo>
                    <a:cubicBezTo>
                      <a:pt x="118" y="155"/>
                      <a:pt x="119" y="151"/>
                      <a:pt x="118" y="148"/>
                    </a:cubicBezTo>
                    <a:cubicBezTo>
                      <a:pt x="117" y="146"/>
                      <a:pt x="112" y="146"/>
                      <a:pt x="114" y="141"/>
                    </a:cubicBezTo>
                    <a:cubicBezTo>
                      <a:pt x="111" y="142"/>
                      <a:pt x="110" y="140"/>
                      <a:pt x="109" y="139"/>
                    </a:cubicBezTo>
                    <a:cubicBezTo>
                      <a:pt x="108" y="139"/>
                      <a:pt x="105" y="140"/>
                      <a:pt x="105" y="139"/>
                    </a:cubicBezTo>
                    <a:cubicBezTo>
                      <a:pt x="103" y="136"/>
                      <a:pt x="88" y="138"/>
                      <a:pt x="84" y="132"/>
                    </a:cubicBezTo>
                    <a:cubicBezTo>
                      <a:pt x="77" y="135"/>
                      <a:pt x="62" y="127"/>
                      <a:pt x="58" y="132"/>
                    </a:cubicBezTo>
                    <a:cubicBezTo>
                      <a:pt x="56" y="135"/>
                      <a:pt x="56" y="131"/>
                      <a:pt x="53" y="132"/>
                    </a:cubicBezTo>
                    <a:cubicBezTo>
                      <a:pt x="48" y="132"/>
                      <a:pt x="44" y="135"/>
                      <a:pt x="40" y="135"/>
                    </a:cubicBezTo>
                    <a:cubicBezTo>
                      <a:pt x="40" y="135"/>
                      <a:pt x="39" y="134"/>
                      <a:pt x="38" y="134"/>
                    </a:cubicBezTo>
                    <a:cubicBezTo>
                      <a:pt x="36" y="133"/>
                      <a:pt x="34" y="134"/>
                      <a:pt x="32" y="134"/>
                    </a:cubicBezTo>
                    <a:cubicBezTo>
                      <a:pt x="32" y="130"/>
                      <a:pt x="31" y="129"/>
                      <a:pt x="28" y="128"/>
                    </a:cubicBezTo>
                    <a:cubicBezTo>
                      <a:pt x="28" y="125"/>
                      <a:pt x="33" y="127"/>
                      <a:pt x="34" y="126"/>
                    </a:cubicBezTo>
                    <a:cubicBezTo>
                      <a:pt x="35" y="125"/>
                      <a:pt x="29" y="121"/>
                      <a:pt x="38" y="122"/>
                    </a:cubicBezTo>
                    <a:cubicBezTo>
                      <a:pt x="35" y="117"/>
                      <a:pt x="21" y="123"/>
                      <a:pt x="17" y="119"/>
                    </a:cubicBezTo>
                    <a:cubicBezTo>
                      <a:pt x="21" y="109"/>
                      <a:pt x="33" y="119"/>
                      <a:pt x="40" y="111"/>
                    </a:cubicBezTo>
                    <a:cubicBezTo>
                      <a:pt x="36" y="107"/>
                      <a:pt x="24" y="110"/>
                      <a:pt x="19" y="111"/>
                    </a:cubicBezTo>
                    <a:cubicBezTo>
                      <a:pt x="17" y="109"/>
                      <a:pt x="18" y="108"/>
                      <a:pt x="19" y="106"/>
                    </a:cubicBezTo>
                    <a:cubicBezTo>
                      <a:pt x="18" y="105"/>
                      <a:pt x="17" y="106"/>
                      <a:pt x="17" y="107"/>
                    </a:cubicBezTo>
                    <a:cubicBezTo>
                      <a:pt x="15" y="107"/>
                      <a:pt x="16" y="105"/>
                      <a:pt x="15" y="104"/>
                    </a:cubicBezTo>
                    <a:cubicBezTo>
                      <a:pt x="8" y="105"/>
                      <a:pt x="5" y="102"/>
                      <a:pt x="0" y="100"/>
                    </a:cubicBezTo>
                    <a:cubicBezTo>
                      <a:pt x="4" y="88"/>
                      <a:pt x="19" y="91"/>
                      <a:pt x="28" y="89"/>
                    </a:cubicBezTo>
                    <a:cubicBezTo>
                      <a:pt x="31" y="88"/>
                      <a:pt x="30" y="89"/>
                      <a:pt x="32" y="87"/>
                    </a:cubicBezTo>
                    <a:cubicBezTo>
                      <a:pt x="32" y="87"/>
                      <a:pt x="35" y="85"/>
                      <a:pt x="34" y="85"/>
                    </a:cubicBezTo>
                    <a:cubicBezTo>
                      <a:pt x="39" y="83"/>
                      <a:pt x="46" y="85"/>
                      <a:pt x="49" y="83"/>
                    </a:cubicBezTo>
                    <a:cubicBezTo>
                      <a:pt x="51" y="82"/>
                      <a:pt x="49" y="81"/>
                      <a:pt x="51" y="80"/>
                    </a:cubicBezTo>
                    <a:cubicBezTo>
                      <a:pt x="52" y="78"/>
                      <a:pt x="55" y="79"/>
                      <a:pt x="56" y="78"/>
                    </a:cubicBezTo>
                    <a:cubicBezTo>
                      <a:pt x="58" y="76"/>
                      <a:pt x="59" y="74"/>
                      <a:pt x="62" y="72"/>
                    </a:cubicBezTo>
                    <a:cubicBezTo>
                      <a:pt x="64" y="66"/>
                      <a:pt x="56" y="71"/>
                      <a:pt x="58" y="65"/>
                    </a:cubicBezTo>
                    <a:cubicBezTo>
                      <a:pt x="55" y="62"/>
                      <a:pt x="55" y="68"/>
                      <a:pt x="55" y="68"/>
                    </a:cubicBezTo>
                    <a:cubicBezTo>
                      <a:pt x="53" y="69"/>
                      <a:pt x="45" y="64"/>
                      <a:pt x="40" y="66"/>
                    </a:cubicBezTo>
                    <a:cubicBezTo>
                      <a:pt x="37" y="61"/>
                      <a:pt x="44" y="64"/>
                      <a:pt x="45" y="63"/>
                    </a:cubicBezTo>
                    <a:cubicBezTo>
                      <a:pt x="45" y="62"/>
                      <a:pt x="45" y="61"/>
                      <a:pt x="45" y="61"/>
                    </a:cubicBezTo>
                    <a:cubicBezTo>
                      <a:pt x="46" y="60"/>
                      <a:pt x="48" y="61"/>
                      <a:pt x="49" y="61"/>
                    </a:cubicBezTo>
                    <a:cubicBezTo>
                      <a:pt x="49" y="60"/>
                      <a:pt x="50" y="57"/>
                      <a:pt x="51" y="57"/>
                    </a:cubicBezTo>
                    <a:cubicBezTo>
                      <a:pt x="53" y="56"/>
                      <a:pt x="52" y="59"/>
                      <a:pt x="53" y="59"/>
                    </a:cubicBezTo>
                    <a:cubicBezTo>
                      <a:pt x="53" y="59"/>
                      <a:pt x="59" y="58"/>
                      <a:pt x="58" y="53"/>
                    </a:cubicBezTo>
                    <a:cubicBezTo>
                      <a:pt x="62" y="53"/>
                      <a:pt x="62" y="56"/>
                      <a:pt x="66" y="55"/>
                    </a:cubicBezTo>
                    <a:cubicBezTo>
                      <a:pt x="69" y="55"/>
                      <a:pt x="66" y="53"/>
                      <a:pt x="66" y="53"/>
                    </a:cubicBezTo>
                    <a:cubicBezTo>
                      <a:pt x="66" y="51"/>
                      <a:pt x="70" y="52"/>
                      <a:pt x="69" y="48"/>
                    </a:cubicBezTo>
                    <a:cubicBezTo>
                      <a:pt x="74" y="48"/>
                      <a:pt x="78" y="48"/>
                      <a:pt x="83" y="48"/>
                    </a:cubicBezTo>
                    <a:cubicBezTo>
                      <a:pt x="87" y="48"/>
                      <a:pt x="83" y="40"/>
                      <a:pt x="84" y="37"/>
                    </a:cubicBezTo>
                    <a:cubicBezTo>
                      <a:pt x="91" y="38"/>
                      <a:pt x="97" y="40"/>
                      <a:pt x="103" y="37"/>
                    </a:cubicBezTo>
                    <a:cubicBezTo>
                      <a:pt x="103" y="35"/>
                      <a:pt x="101" y="35"/>
                      <a:pt x="99" y="35"/>
                    </a:cubicBezTo>
                    <a:cubicBezTo>
                      <a:pt x="101" y="32"/>
                      <a:pt x="107" y="33"/>
                      <a:pt x="110" y="31"/>
                    </a:cubicBezTo>
                    <a:cubicBezTo>
                      <a:pt x="115" y="28"/>
                      <a:pt x="129" y="30"/>
                      <a:pt x="140" y="29"/>
                    </a:cubicBezTo>
                    <a:cubicBezTo>
                      <a:pt x="143" y="29"/>
                      <a:pt x="144" y="27"/>
                      <a:pt x="146" y="27"/>
                    </a:cubicBezTo>
                    <a:cubicBezTo>
                      <a:pt x="151" y="27"/>
                      <a:pt x="155" y="29"/>
                      <a:pt x="159" y="27"/>
                    </a:cubicBezTo>
                    <a:cubicBezTo>
                      <a:pt x="158" y="29"/>
                      <a:pt x="160" y="34"/>
                      <a:pt x="161" y="33"/>
                    </a:cubicBezTo>
                    <a:cubicBezTo>
                      <a:pt x="163" y="30"/>
                      <a:pt x="161" y="32"/>
                      <a:pt x="166" y="37"/>
                    </a:cubicBezTo>
                    <a:cubicBezTo>
                      <a:pt x="170" y="36"/>
                      <a:pt x="163" y="31"/>
                      <a:pt x="172" y="33"/>
                    </a:cubicBezTo>
                    <a:cubicBezTo>
                      <a:pt x="169" y="30"/>
                      <a:pt x="175" y="26"/>
                      <a:pt x="166" y="25"/>
                    </a:cubicBezTo>
                    <a:cubicBezTo>
                      <a:pt x="167" y="22"/>
                      <a:pt x="181" y="16"/>
                      <a:pt x="181" y="24"/>
                    </a:cubicBezTo>
                    <a:cubicBezTo>
                      <a:pt x="187" y="24"/>
                      <a:pt x="186" y="21"/>
                      <a:pt x="191" y="24"/>
                    </a:cubicBezTo>
                    <a:cubicBezTo>
                      <a:pt x="193" y="25"/>
                      <a:pt x="194" y="26"/>
                      <a:pt x="196" y="27"/>
                    </a:cubicBezTo>
                    <a:cubicBezTo>
                      <a:pt x="198" y="29"/>
                      <a:pt x="204" y="29"/>
                      <a:pt x="211" y="31"/>
                    </a:cubicBezTo>
                    <a:cubicBezTo>
                      <a:pt x="211" y="29"/>
                      <a:pt x="209" y="30"/>
                      <a:pt x="207" y="29"/>
                    </a:cubicBezTo>
                    <a:cubicBezTo>
                      <a:pt x="208" y="27"/>
                      <a:pt x="210" y="25"/>
                      <a:pt x="213" y="25"/>
                    </a:cubicBezTo>
                    <a:cubicBezTo>
                      <a:pt x="210" y="21"/>
                      <a:pt x="202" y="21"/>
                      <a:pt x="196" y="20"/>
                    </a:cubicBezTo>
                    <a:cubicBezTo>
                      <a:pt x="196" y="15"/>
                      <a:pt x="204" y="16"/>
                      <a:pt x="209" y="16"/>
                    </a:cubicBezTo>
                    <a:cubicBezTo>
                      <a:pt x="210" y="12"/>
                      <a:pt x="207" y="13"/>
                      <a:pt x="204" y="12"/>
                    </a:cubicBezTo>
                    <a:cubicBezTo>
                      <a:pt x="208" y="5"/>
                      <a:pt x="215" y="12"/>
                      <a:pt x="220" y="12"/>
                    </a:cubicBezTo>
                    <a:cubicBezTo>
                      <a:pt x="224" y="13"/>
                      <a:pt x="224" y="10"/>
                      <a:pt x="228" y="11"/>
                    </a:cubicBezTo>
                    <a:cubicBezTo>
                      <a:pt x="237" y="11"/>
                      <a:pt x="243" y="15"/>
                      <a:pt x="250" y="11"/>
                    </a:cubicBezTo>
                    <a:cubicBezTo>
                      <a:pt x="253" y="9"/>
                      <a:pt x="257" y="10"/>
                      <a:pt x="261" y="9"/>
                    </a:cubicBezTo>
                    <a:cubicBezTo>
                      <a:pt x="264" y="8"/>
                      <a:pt x="263" y="5"/>
                      <a:pt x="263" y="3"/>
                    </a:cubicBezTo>
                    <a:cubicBezTo>
                      <a:pt x="266" y="3"/>
                      <a:pt x="270" y="4"/>
                      <a:pt x="273" y="3"/>
                    </a:cubicBezTo>
                    <a:cubicBezTo>
                      <a:pt x="275" y="3"/>
                      <a:pt x="276" y="1"/>
                      <a:pt x="278" y="1"/>
                    </a:cubicBezTo>
                    <a:cubicBezTo>
                      <a:pt x="282" y="1"/>
                      <a:pt x="287" y="4"/>
                      <a:pt x="295" y="3"/>
                    </a:cubicBezTo>
                    <a:cubicBezTo>
                      <a:pt x="300" y="2"/>
                      <a:pt x="312" y="0"/>
                      <a:pt x="323" y="1"/>
                    </a:cubicBezTo>
                    <a:cubicBezTo>
                      <a:pt x="326" y="1"/>
                      <a:pt x="326" y="3"/>
                      <a:pt x="329" y="3"/>
                    </a:cubicBezTo>
                    <a:cubicBezTo>
                      <a:pt x="339" y="5"/>
                      <a:pt x="349" y="1"/>
                      <a:pt x="349" y="11"/>
                    </a:cubicBezTo>
                    <a:cubicBezTo>
                      <a:pt x="354" y="12"/>
                      <a:pt x="354" y="8"/>
                      <a:pt x="358" y="9"/>
                    </a:cubicBezTo>
                    <a:cubicBezTo>
                      <a:pt x="358" y="15"/>
                      <a:pt x="365" y="13"/>
                      <a:pt x="368" y="16"/>
                    </a:cubicBezTo>
                    <a:cubicBezTo>
                      <a:pt x="373" y="18"/>
                      <a:pt x="373" y="14"/>
                      <a:pt x="377" y="14"/>
                    </a:cubicBezTo>
                    <a:cubicBezTo>
                      <a:pt x="375" y="21"/>
                      <a:pt x="384" y="17"/>
                      <a:pt x="388" y="18"/>
                    </a:cubicBezTo>
                    <a:cubicBezTo>
                      <a:pt x="385" y="22"/>
                      <a:pt x="385" y="19"/>
                      <a:pt x="386" y="25"/>
                    </a:cubicBezTo>
                    <a:cubicBezTo>
                      <a:pt x="384" y="23"/>
                      <a:pt x="382" y="24"/>
                      <a:pt x="383" y="27"/>
                    </a:cubicBezTo>
                    <a:cubicBezTo>
                      <a:pt x="363" y="29"/>
                      <a:pt x="339" y="30"/>
                      <a:pt x="325" y="31"/>
                    </a:cubicBezTo>
                    <a:cubicBezTo>
                      <a:pt x="323" y="31"/>
                      <a:pt x="323" y="32"/>
                      <a:pt x="323" y="33"/>
                    </a:cubicBezTo>
                    <a:cubicBezTo>
                      <a:pt x="321" y="33"/>
                      <a:pt x="322" y="31"/>
                      <a:pt x="323" y="31"/>
                    </a:cubicBezTo>
                    <a:cubicBezTo>
                      <a:pt x="324" y="30"/>
                      <a:pt x="320" y="29"/>
                      <a:pt x="319" y="29"/>
                    </a:cubicBezTo>
                    <a:cubicBezTo>
                      <a:pt x="319" y="30"/>
                      <a:pt x="320" y="33"/>
                      <a:pt x="319" y="33"/>
                    </a:cubicBezTo>
                    <a:cubicBezTo>
                      <a:pt x="316" y="34"/>
                      <a:pt x="312" y="32"/>
                      <a:pt x="310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96BC56C6-E974-45D8-9D97-1567B5BE3A66}"/>
                  </a:ext>
                </a:extLst>
              </p:cNvPr>
              <p:cNvSpPr/>
              <p:nvPr/>
            </p:nvSpPr>
            <p:spPr bwMode="auto">
              <a:xfrm>
                <a:off x="4224375" y="434497"/>
                <a:ext cx="466461" cy="253542"/>
              </a:xfrm>
              <a:custGeom>
                <a:avLst/>
                <a:gdLst>
                  <a:gd name="T0" fmla="*/ 209 w 224"/>
                  <a:gd name="T1" fmla="*/ 12 h 122"/>
                  <a:gd name="T2" fmla="*/ 222 w 224"/>
                  <a:gd name="T3" fmla="*/ 19 h 122"/>
                  <a:gd name="T4" fmla="*/ 217 w 224"/>
                  <a:gd name="T5" fmla="*/ 23 h 122"/>
                  <a:gd name="T6" fmla="*/ 207 w 224"/>
                  <a:gd name="T7" fmla="*/ 27 h 122"/>
                  <a:gd name="T8" fmla="*/ 181 w 224"/>
                  <a:gd name="T9" fmla="*/ 32 h 122"/>
                  <a:gd name="T10" fmla="*/ 193 w 224"/>
                  <a:gd name="T11" fmla="*/ 36 h 122"/>
                  <a:gd name="T12" fmla="*/ 170 w 224"/>
                  <a:gd name="T13" fmla="*/ 45 h 122"/>
                  <a:gd name="T14" fmla="*/ 163 w 224"/>
                  <a:gd name="T15" fmla="*/ 49 h 122"/>
                  <a:gd name="T16" fmla="*/ 152 w 224"/>
                  <a:gd name="T17" fmla="*/ 55 h 122"/>
                  <a:gd name="T18" fmla="*/ 133 w 224"/>
                  <a:gd name="T19" fmla="*/ 62 h 122"/>
                  <a:gd name="T20" fmla="*/ 127 w 224"/>
                  <a:gd name="T21" fmla="*/ 68 h 122"/>
                  <a:gd name="T22" fmla="*/ 114 w 224"/>
                  <a:gd name="T23" fmla="*/ 70 h 122"/>
                  <a:gd name="T24" fmla="*/ 122 w 224"/>
                  <a:gd name="T25" fmla="*/ 81 h 122"/>
                  <a:gd name="T26" fmla="*/ 109 w 224"/>
                  <a:gd name="T27" fmla="*/ 90 h 122"/>
                  <a:gd name="T28" fmla="*/ 99 w 224"/>
                  <a:gd name="T29" fmla="*/ 96 h 122"/>
                  <a:gd name="T30" fmla="*/ 83 w 224"/>
                  <a:gd name="T31" fmla="*/ 107 h 122"/>
                  <a:gd name="T32" fmla="*/ 88 w 224"/>
                  <a:gd name="T33" fmla="*/ 116 h 122"/>
                  <a:gd name="T34" fmla="*/ 73 w 224"/>
                  <a:gd name="T35" fmla="*/ 120 h 122"/>
                  <a:gd name="T36" fmla="*/ 45 w 224"/>
                  <a:gd name="T37" fmla="*/ 114 h 122"/>
                  <a:gd name="T38" fmla="*/ 36 w 224"/>
                  <a:gd name="T39" fmla="*/ 116 h 122"/>
                  <a:gd name="T40" fmla="*/ 23 w 224"/>
                  <a:gd name="T41" fmla="*/ 107 h 122"/>
                  <a:gd name="T42" fmla="*/ 36 w 224"/>
                  <a:gd name="T43" fmla="*/ 96 h 122"/>
                  <a:gd name="T44" fmla="*/ 51 w 224"/>
                  <a:gd name="T45" fmla="*/ 96 h 122"/>
                  <a:gd name="T46" fmla="*/ 25 w 224"/>
                  <a:gd name="T47" fmla="*/ 90 h 122"/>
                  <a:gd name="T48" fmla="*/ 40 w 224"/>
                  <a:gd name="T49" fmla="*/ 79 h 122"/>
                  <a:gd name="T50" fmla="*/ 53 w 224"/>
                  <a:gd name="T51" fmla="*/ 79 h 122"/>
                  <a:gd name="T52" fmla="*/ 53 w 224"/>
                  <a:gd name="T53" fmla="*/ 71 h 122"/>
                  <a:gd name="T54" fmla="*/ 49 w 224"/>
                  <a:gd name="T55" fmla="*/ 62 h 122"/>
                  <a:gd name="T56" fmla="*/ 40 w 224"/>
                  <a:gd name="T57" fmla="*/ 58 h 122"/>
                  <a:gd name="T58" fmla="*/ 60 w 224"/>
                  <a:gd name="T59" fmla="*/ 56 h 122"/>
                  <a:gd name="T60" fmla="*/ 68 w 224"/>
                  <a:gd name="T61" fmla="*/ 53 h 122"/>
                  <a:gd name="T62" fmla="*/ 83 w 224"/>
                  <a:gd name="T63" fmla="*/ 42 h 122"/>
                  <a:gd name="T64" fmla="*/ 51 w 224"/>
                  <a:gd name="T65" fmla="*/ 47 h 122"/>
                  <a:gd name="T66" fmla="*/ 29 w 224"/>
                  <a:gd name="T67" fmla="*/ 42 h 122"/>
                  <a:gd name="T68" fmla="*/ 6 w 224"/>
                  <a:gd name="T69" fmla="*/ 36 h 122"/>
                  <a:gd name="T70" fmla="*/ 2 w 224"/>
                  <a:gd name="T71" fmla="*/ 25 h 122"/>
                  <a:gd name="T72" fmla="*/ 40 w 224"/>
                  <a:gd name="T73" fmla="*/ 15 h 122"/>
                  <a:gd name="T74" fmla="*/ 66 w 224"/>
                  <a:gd name="T75" fmla="*/ 10 h 122"/>
                  <a:gd name="T76" fmla="*/ 97 w 224"/>
                  <a:gd name="T77" fmla="*/ 4 h 122"/>
                  <a:gd name="T78" fmla="*/ 129 w 224"/>
                  <a:gd name="T79" fmla="*/ 2 h 122"/>
                  <a:gd name="T80" fmla="*/ 146 w 224"/>
                  <a:gd name="T81" fmla="*/ 2 h 122"/>
                  <a:gd name="T82" fmla="*/ 178 w 224"/>
                  <a:gd name="T83" fmla="*/ 2 h 122"/>
                  <a:gd name="T84" fmla="*/ 209 w 224"/>
                  <a:gd name="T85" fmla="*/ 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4" h="122">
                    <a:moveTo>
                      <a:pt x="209" y="4"/>
                    </a:moveTo>
                    <a:cubicBezTo>
                      <a:pt x="206" y="8"/>
                      <a:pt x="209" y="7"/>
                      <a:pt x="209" y="12"/>
                    </a:cubicBezTo>
                    <a:cubicBezTo>
                      <a:pt x="214" y="12"/>
                      <a:pt x="219" y="12"/>
                      <a:pt x="224" y="12"/>
                    </a:cubicBezTo>
                    <a:cubicBezTo>
                      <a:pt x="224" y="15"/>
                      <a:pt x="222" y="16"/>
                      <a:pt x="222" y="19"/>
                    </a:cubicBezTo>
                    <a:cubicBezTo>
                      <a:pt x="221" y="20"/>
                      <a:pt x="218" y="18"/>
                      <a:pt x="217" y="19"/>
                    </a:cubicBezTo>
                    <a:cubicBezTo>
                      <a:pt x="216" y="20"/>
                      <a:pt x="217" y="23"/>
                      <a:pt x="217" y="23"/>
                    </a:cubicBezTo>
                    <a:cubicBezTo>
                      <a:pt x="214" y="24"/>
                      <a:pt x="210" y="25"/>
                      <a:pt x="209" y="23"/>
                    </a:cubicBezTo>
                    <a:cubicBezTo>
                      <a:pt x="207" y="22"/>
                      <a:pt x="208" y="26"/>
                      <a:pt x="207" y="27"/>
                    </a:cubicBezTo>
                    <a:cubicBezTo>
                      <a:pt x="205" y="28"/>
                      <a:pt x="200" y="25"/>
                      <a:pt x="200" y="29"/>
                    </a:cubicBezTo>
                    <a:cubicBezTo>
                      <a:pt x="194" y="28"/>
                      <a:pt x="185" y="26"/>
                      <a:pt x="181" y="32"/>
                    </a:cubicBezTo>
                    <a:cubicBezTo>
                      <a:pt x="183" y="37"/>
                      <a:pt x="191" y="32"/>
                      <a:pt x="193" y="30"/>
                    </a:cubicBezTo>
                    <a:cubicBezTo>
                      <a:pt x="195" y="31"/>
                      <a:pt x="192" y="33"/>
                      <a:pt x="193" y="36"/>
                    </a:cubicBezTo>
                    <a:cubicBezTo>
                      <a:pt x="186" y="36"/>
                      <a:pt x="182" y="39"/>
                      <a:pt x="176" y="40"/>
                    </a:cubicBezTo>
                    <a:cubicBezTo>
                      <a:pt x="173" y="41"/>
                      <a:pt x="171" y="43"/>
                      <a:pt x="170" y="45"/>
                    </a:cubicBezTo>
                    <a:cubicBezTo>
                      <a:pt x="169" y="46"/>
                      <a:pt x="166" y="45"/>
                      <a:pt x="165" y="45"/>
                    </a:cubicBezTo>
                    <a:cubicBezTo>
                      <a:pt x="163" y="46"/>
                      <a:pt x="164" y="48"/>
                      <a:pt x="163" y="49"/>
                    </a:cubicBezTo>
                    <a:cubicBezTo>
                      <a:pt x="161" y="50"/>
                      <a:pt x="157" y="47"/>
                      <a:pt x="157" y="51"/>
                    </a:cubicBezTo>
                    <a:cubicBezTo>
                      <a:pt x="157" y="54"/>
                      <a:pt x="152" y="52"/>
                      <a:pt x="152" y="55"/>
                    </a:cubicBezTo>
                    <a:cubicBezTo>
                      <a:pt x="151" y="59"/>
                      <a:pt x="146" y="56"/>
                      <a:pt x="144" y="58"/>
                    </a:cubicBezTo>
                    <a:cubicBezTo>
                      <a:pt x="142" y="61"/>
                      <a:pt x="137" y="60"/>
                      <a:pt x="133" y="62"/>
                    </a:cubicBezTo>
                    <a:cubicBezTo>
                      <a:pt x="132" y="62"/>
                      <a:pt x="133" y="64"/>
                      <a:pt x="131" y="64"/>
                    </a:cubicBezTo>
                    <a:cubicBezTo>
                      <a:pt x="126" y="64"/>
                      <a:pt x="129" y="66"/>
                      <a:pt x="127" y="68"/>
                    </a:cubicBezTo>
                    <a:cubicBezTo>
                      <a:pt x="127" y="68"/>
                      <a:pt x="126" y="68"/>
                      <a:pt x="125" y="68"/>
                    </a:cubicBezTo>
                    <a:cubicBezTo>
                      <a:pt x="124" y="68"/>
                      <a:pt x="120" y="71"/>
                      <a:pt x="114" y="70"/>
                    </a:cubicBezTo>
                    <a:cubicBezTo>
                      <a:pt x="115" y="72"/>
                      <a:pt x="122" y="73"/>
                      <a:pt x="114" y="73"/>
                    </a:cubicBezTo>
                    <a:cubicBezTo>
                      <a:pt x="115" y="77"/>
                      <a:pt x="124" y="74"/>
                      <a:pt x="122" y="81"/>
                    </a:cubicBezTo>
                    <a:cubicBezTo>
                      <a:pt x="118" y="77"/>
                      <a:pt x="118" y="81"/>
                      <a:pt x="118" y="86"/>
                    </a:cubicBezTo>
                    <a:cubicBezTo>
                      <a:pt x="114" y="81"/>
                      <a:pt x="112" y="88"/>
                      <a:pt x="109" y="90"/>
                    </a:cubicBezTo>
                    <a:cubicBezTo>
                      <a:pt x="105" y="92"/>
                      <a:pt x="100" y="90"/>
                      <a:pt x="97" y="94"/>
                    </a:cubicBezTo>
                    <a:cubicBezTo>
                      <a:pt x="96" y="96"/>
                      <a:pt x="99" y="95"/>
                      <a:pt x="99" y="96"/>
                    </a:cubicBezTo>
                    <a:cubicBezTo>
                      <a:pt x="100" y="97"/>
                      <a:pt x="93" y="99"/>
                      <a:pt x="97" y="99"/>
                    </a:cubicBezTo>
                    <a:cubicBezTo>
                      <a:pt x="95" y="105"/>
                      <a:pt x="85" y="101"/>
                      <a:pt x="83" y="107"/>
                    </a:cubicBezTo>
                    <a:cubicBezTo>
                      <a:pt x="86" y="110"/>
                      <a:pt x="91" y="111"/>
                      <a:pt x="97" y="111"/>
                    </a:cubicBezTo>
                    <a:cubicBezTo>
                      <a:pt x="99" y="117"/>
                      <a:pt x="88" y="112"/>
                      <a:pt x="88" y="116"/>
                    </a:cubicBezTo>
                    <a:cubicBezTo>
                      <a:pt x="88" y="119"/>
                      <a:pt x="86" y="116"/>
                      <a:pt x="84" y="116"/>
                    </a:cubicBezTo>
                    <a:cubicBezTo>
                      <a:pt x="80" y="116"/>
                      <a:pt x="78" y="122"/>
                      <a:pt x="73" y="120"/>
                    </a:cubicBezTo>
                    <a:cubicBezTo>
                      <a:pt x="72" y="118"/>
                      <a:pt x="69" y="118"/>
                      <a:pt x="70" y="114"/>
                    </a:cubicBezTo>
                    <a:cubicBezTo>
                      <a:pt x="60" y="113"/>
                      <a:pt x="54" y="116"/>
                      <a:pt x="45" y="114"/>
                    </a:cubicBezTo>
                    <a:cubicBezTo>
                      <a:pt x="45" y="114"/>
                      <a:pt x="43" y="112"/>
                      <a:pt x="43" y="112"/>
                    </a:cubicBezTo>
                    <a:cubicBezTo>
                      <a:pt x="40" y="112"/>
                      <a:pt x="39" y="116"/>
                      <a:pt x="36" y="116"/>
                    </a:cubicBezTo>
                    <a:cubicBezTo>
                      <a:pt x="27" y="117"/>
                      <a:pt x="20" y="114"/>
                      <a:pt x="10" y="112"/>
                    </a:cubicBezTo>
                    <a:cubicBezTo>
                      <a:pt x="13" y="109"/>
                      <a:pt x="17" y="107"/>
                      <a:pt x="23" y="107"/>
                    </a:cubicBezTo>
                    <a:cubicBezTo>
                      <a:pt x="27" y="106"/>
                      <a:pt x="23" y="99"/>
                      <a:pt x="27" y="97"/>
                    </a:cubicBezTo>
                    <a:cubicBezTo>
                      <a:pt x="32" y="99"/>
                      <a:pt x="31" y="95"/>
                      <a:pt x="36" y="96"/>
                    </a:cubicBezTo>
                    <a:cubicBezTo>
                      <a:pt x="36" y="102"/>
                      <a:pt x="43" y="101"/>
                      <a:pt x="49" y="101"/>
                    </a:cubicBezTo>
                    <a:cubicBezTo>
                      <a:pt x="53" y="100"/>
                      <a:pt x="47" y="98"/>
                      <a:pt x="51" y="96"/>
                    </a:cubicBezTo>
                    <a:cubicBezTo>
                      <a:pt x="50" y="91"/>
                      <a:pt x="40" y="97"/>
                      <a:pt x="43" y="88"/>
                    </a:cubicBezTo>
                    <a:cubicBezTo>
                      <a:pt x="36" y="90"/>
                      <a:pt x="33" y="93"/>
                      <a:pt x="25" y="90"/>
                    </a:cubicBezTo>
                    <a:cubicBezTo>
                      <a:pt x="26" y="86"/>
                      <a:pt x="30" y="85"/>
                      <a:pt x="34" y="84"/>
                    </a:cubicBezTo>
                    <a:cubicBezTo>
                      <a:pt x="36" y="83"/>
                      <a:pt x="38" y="81"/>
                      <a:pt x="40" y="79"/>
                    </a:cubicBezTo>
                    <a:cubicBezTo>
                      <a:pt x="42" y="79"/>
                      <a:pt x="43" y="78"/>
                      <a:pt x="43" y="77"/>
                    </a:cubicBezTo>
                    <a:cubicBezTo>
                      <a:pt x="48" y="76"/>
                      <a:pt x="51" y="77"/>
                      <a:pt x="53" y="79"/>
                    </a:cubicBezTo>
                    <a:cubicBezTo>
                      <a:pt x="55" y="78"/>
                      <a:pt x="57" y="76"/>
                      <a:pt x="58" y="73"/>
                    </a:cubicBezTo>
                    <a:cubicBezTo>
                      <a:pt x="59" y="70"/>
                      <a:pt x="54" y="73"/>
                      <a:pt x="53" y="71"/>
                    </a:cubicBezTo>
                    <a:cubicBezTo>
                      <a:pt x="52" y="71"/>
                      <a:pt x="51" y="67"/>
                      <a:pt x="51" y="66"/>
                    </a:cubicBezTo>
                    <a:cubicBezTo>
                      <a:pt x="50" y="65"/>
                      <a:pt x="48" y="64"/>
                      <a:pt x="49" y="62"/>
                    </a:cubicBezTo>
                    <a:cubicBezTo>
                      <a:pt x="48" y="63"/>
                      <a:pt x="46" y="64"/>
                      <a:pt x="43" y="64"/>
                    </a:cubicBezTo>
                    <a:cubicBezTo>
                      <a:pt x="44" y="60"/>
                      <a:pt x="43" y="58"/>
                      <a:pt x="40" y="58"/>
                    </a:cubicBezTo>
                    <a:cubicBezTo>
                      <a:pt x="41" y="55"/>
                      <a:pt x="43" y="52"/>
                      <a:pt x="49" y="53"/>
                    </a:cubicBezTo>
                    <a:cubicBezTo>
                      <a:pt x="54" y="52"/>
                      <a:pt x="53" y="59"/>
                      <a:pt x="60" y="56"/>
                    </a:cubicBezTo>
                    <a:cubicBezTo>
                      <a:pt x="60" y="59"/>
                      <a:pt x="61" y="60"/>
                      <a:pt x="62" y="60"/>
                    </a:cubicBezTo>
                    <a:cubicBezTo>
                      <a:pt x="68" y="62"/>
                      <a:pt x="65" y="54"/>
                      <a:pt x="68" y="53"/>
                    </a:cubicBezTo>
                    <a:cubicBezTo>
                      <a:pt x="77" y="51"/>
                      <a:pt x="85" y="48"/>
                      <a:pt x="90" y="42"/>
                    </a:cubicBezTo>
                    <a:cubicBezTo>
                      <a:pt x="90" y="37"/>
                      <a:pt x="87" y="44"/>
                      <a:pt x="83" y="42"/>
                    </a:cubicBezTo>
                    <a:cubicBezTo>
                      <a:pt x="80" y="44"/>
                      <a:pt x="75" y="44"/>
                      <a:pt x="73" y="47"/>
                    </a:cubicBezTo>
                    <a:cubicBezTo>
                      <a:pt x="68" y="46"/>
                      <a:pt x="59" y="48"/>
                      <a:pt x="51" y="47"/>
                    </a:cubicBezTo>
                    <a:cubicBezTo>
                      <a:pt x="46" y="47"/>
                      <a:pt x="44" y="44"/>
                      <a:pt x="38" y="47"/>
                    </a:cubicBezTo>
                    <a:cubicBezTo>
                      <a:pt x="36" y="40"/>
                      <a:pt x="31" y="48"/>
                      <a:pt x="29" y="42"/>
                    </a:cubicBezTo>
                    <a:cubicBezTo>
                      <a:pt x="26" y="45"/>
                      <a:pt x="21" y="40"/>
                      <a:pt x="14" y="42"/>
                    </a:cubicBezTo>
                    <a:cubicBezTo>
                      <a:pt x="15" y="36"/>
                      <a:pt x="8" y="39"/>
                      <a:pt x="6" y="36"/>
                    </a:cubicBezTo>
                    <a:cubicBezTo>
                      <a:pt x="5" y="31"/>
                      <a:pt x="10" y="32"/>
                      <a:pt x="12" y="30"/>
                    </a:cubicBezTo>
                    <a:cubicBezTo>
                      <a:pt x="12" y="25"/>
                      <a:pt x="0" y="33"/>
                      <a:pt x="2" y="25"/>
                    </a:cubicBezTo>
                    <a:cubicBezTo>
                      <a:pt x="11" y="22"/>
                      <a:pt x="25" y="21"/>
                      <a:pt x="38" y="19"/>
                    </a:cubicBezTo>
                    <a:cubicBezTo>
                      <a:pt x="40" y="19"/>
                      <a:pt x="39" y="17"/>
                      <a:pt x="40" y="15"/>
                    </a:cubicBezTo>
                    <a:cubicBezTo>
                      <a:pt x="49" y="17"/>
                      <a:pt x="57" y="13"/>
                      <a:pt x="62" y="15"/>
                    </a:cubicBezTo>
                    <a:cubicBezTo>
                      <a:pt x="64" y="14"/>
                      <a:pt x="65" y="12"/>
                      <a:pt x="66" y="10"/>
                    </a:cubicBezTo>
                    <a:cubicBezTo>
                      <a:pt x="77" y="9"/>
                      <a:pt x="87" y="6"/>
                      <a:pt x="96" y="8"/>
                    </a:cubicBezTo>
                    <a:cubicBezTo>
                      <a:pt x="97" y="8"/>
                      <a:pt x="97" y="6"/>
                      <a:pt x="97" y="4"/>
                    </a:cubicBezTo>
                    <a:cubicBezTo>
                      <a:pt x="105" y="5"/>
                      <a:pt x="115" y="3"/>
                      <a:pt x="120" y="6"/>
                    </a:cubicBezTo>
                    <a:cubicBezTo>
                      <a:pt x="121" y="3"/>
                      <a:pt x="129" y="6"/>
                      <a:pt x="129" y="2"/>
                    </a:cubicBezTo>
                    <a:cubicBezTo>
                      <a:pt x="134" y="4"/>
                      <a:pt x="141" y="5"/>
                      <a:pt x="148" y="4"/>
                    </a:cubicBezTo>
                    <a:cubicBezTo>
                      <a:pt x="148" y="3"/>
                      <a:pt x="147" y="3"/>
                      <a:pt x="146" y="2"/>
                    </a:cubicBezTo>
                    <a:cubicBezTo>
                      <a:pt x="146" y="0"/>
                      <a:pt x="148" y="1"/>
                      <a:pt x="148" y="2"/>
                    </a:cubicBezTo>
                    <a:cubicBezTo>
                      <a:pt x="156" y="4"/>
                      <a:pt x="169" y="1"/>
                      <a:pt x="178" y="2"/>
                    </a:cubicBezTo>
                    <a:cubicBezTo>
                      <a:pt x="178" y="2"/>
                      <a:pt x="177" y="6"/>
                      <a:pt x="178" y="6"/>
                    </a:cubicBezTo>
                    <a:cubicBezTo>
                      <a:pt x="192" y="6"/>
                      <a:pt x="193" y="3"/>
                      <a:pt x="209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7555DA8-9B14-4921-B96D-2E9E34F76D06}"/>
                  </a:ext>
                </a:extLst>
              </p:cNvPr>
              <p:cNvSpPr/>
              <p:nvPr/>
            </p:nvSpPr>
            <p:spPr bwMode="auto">
              <a:xfrm>
                <a:off x="5955742" y="531150"/>
                <a:ext cx="133075" cy="49028"/>
              </a:xfrm>
              <a:custGeom>
                <a:avLst/>
                <a:gdLst>
                  <a:gd name="T0" fmla="*/ 17 w 64"/>
                  <a:gd name="T1" fmla="*/ 3 h 24"/>
                  <a:gd name="T2" fmla="*/ 17 w 64"/>
                  <a:gd name="T3" fmla="*/ 5 h 24"/>
                  <a:gd name="T4" fmla="*/ 22 w 64"/>
                  <a:gd name="T5" fmla="*/ 10 h 24"/>
                  <a:gd name="T6" fmla="*/ 28 w 64"/>
                  <a:gd name="T7" fmla="*/ 7 h 24"/>
                  <a:gd name="T8" fmla="*/ 37 w 64"/>
                  <a:gd name="T9" fmla="*/ 10 h 24"/>
                  <a:gd name="T10" fmla="*/ 54 w 64"/>
                  <a:gd name="T11" fmla="*/ 7 h 24"/>
                  <a:gd name="T12" fmla="*/ 61 w 64"/>
                  <a:gd name="T13" fmla="*/ 10 h 24"/>
                  <a:gd name="T14" fmla="*/ 58 w 64"/>
                  <a:gd name="T15" fmla="*/ 18 h 24"/>
                  <a:gd name="T16" fmla="*/ 41 w 64"/>
                  <a:gd name="T17" fmla="*/ 20 h 24"/>
                  <a:gd name="T18" fmla="*/ 30 w 64"/>
                  <a:gd name="T19" fmla="*/ 24 h 24"/>
                  <a:gd name="T20" fmla="*/ 11 w 64"/>
                  <a:gd name="T21" fmla="*/ 10 h 24"/>
                  <a:gd name="T22" fmla="*/ 2 w 64"/>
                  <a:gd name="T23" fmla="*/ 9 h 24"/>
                  <a:gd name="T24" fmla="*/ 17 w 64"/>
                  <a:gd name="T25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24">
                    <a:moveTo>
                      <a:pt x="17" y="3"/>
                    </a:moveTo>
                    <a:cubicBezTo>
                      <a:pt x="19" y="3"/>
                      <a:pt x="18" y="5"/>
                      <a:pt x="17" y="5"/>
                    </a:cubicBezTo>
                    <a:cubicBezTo>
                      <a:pt x="16" y="9"/>
                      <a:pt x="25" y="4"/>
                      <a:pt x="22" y="10"/>
                    </a:cubicBezTo>
                    <a:cubicBezTo>
                      <a:pt x="26" y="11"/>
                      <a:pt x="25" y="7"/>
                      <a:pt x="28" y="7"/>
                    </a:cubicBezTo>
                    <a:cubicBezTo>
                      <a:pt x="32" y="11"/>
                      <a:pt x="36" y="3"/>
                      <a:pt x="37" y="10"/>
                    </a:cubicBezTo>
                    <a:cubicBezTo>
                      <a:pt x="42" y="9"/>
                      <a:pt x="49" y="8"/>
                      <a:pt x="54" y="7"/>
                    </a:cubicBezTo>
                    <a:cubicBezTo>
                      <a:pt x="53" y="12"/>
                      <a:pt x="63" y="5"/>
                      <a:pt x="61" y="10"/>
                    </a:cubicBezTo>
                    <a:cubicBezTo>
                      <a:pt x="64" y="16"/>
                      <a:pt x="50" y="14"/>
                      <a:pt x="58" y="18"/>
                    </a:cubicBezTo>
                    <a:cubicBezTo>
                      <a:pt x="56" y="22"/>
                      <a:pt x="46" y="19"/>
                      <a:pt x="41" y="20"/>
                    </a:cubicBezTo>
                    <a:cubicBezTo>
                      <a:pt x="37" y="20"/>
                      <a:pt x="33" y="22"/>
                      <a:pt x="30" y="24"/>
                    </a:cubicBezTo>
                    <a:cubicBezTo>
                      <a:pt x="22" y="20"/>
                      <a:pt x="15" y="17"/>
                      <a:pt x="11" y="10"/>
                    </a:cubicBezTo>
                    <a:cubicBezTo>
                      <a:pt x="8" y="9"/>
                      <a:pt x="1" y="13"/>
                      <a:pt x="2" y="9"/>
                    </a:cubicBezTo>
                    <a:cubicBezTo>
                      <a:pt x="0" y="0"/>
                      <a:pt x="16" y="9"/>
                      <a:pt x="1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8C54E2E-E502-4386-B8AE-BF9FB8A1C075}"/>
                  </a:ext>
                </a:extLst>
              </p:cNvPr>
              <p:cNvSpPr/>
              <p:nvPr/>
            </p:nvSpPr>
            <p:spPr bwMode="auto">
              <a:xfrm>
                <a:off x="3864374" y="596988"/>
                <a:ext cx="63036" cy="19611"/>
              </a:xfrm>
              <a:custGeom>
                <a:avLst/>
                <a:gdLst>
                  <a:gd name="T0" fmla="*/ 28 w 30"/>
                  <a:gd name="T1" fmla="*/ 1 h 9"/>
                  <a:gd name="T2" fmla="*/ 17 w 30"/>
                  <a:gd name="T3" fmla="*/ 6 h 9"/>
                  <a:gd name="T4" fmla="*/ 13 w 30"/>
                  <a:gd name="T5" fmla="*/ 8 h 9"/>
                  <a:gd name="T6" fmla="*/ 6 w 30"/>
                  <a:gd name="T7" fmla="*/ 8 h 9"/>
                  <a:gd name="T8" fmla="*/ 10 w 30"/>
                  <a:gd name="T9" fmla="*/ 3 h 9"/>
                  <a:gd name="T10" fmla="*/ 28 w 30"/>
                  <a:gd name="T1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9">
                    <a:moveTo>
                      <a:pt x="28" y="1"/>
                    </a:moveTo>
                    <a:cubicBezTo>
                      <a:pt x="30" y="7"/>
                      <a:pt x="22" y="6"/>
                      <a:pt x="17" y="6"/>
                    </a:cubicBezTo>
                    <a:cubicBezTo>
                      <a:pt x="15" y="7"/>
                      <a:pt x="15" y="8"/>
                      <a:pt x="13" y="8"/>
                    </a:cubicBezTo>
                    <a:cubicBezTo>
                      <a:pt x="10" y="8"/>
                      <a:pt x="6" y="6"/>
                      <a:pt x="6" y="8"/>
                    </a:cubicBezTo>
                    <a:cubicBezTo>
                      <a:pt x="0" y="9"/>
                      <a:pt x="9" y="2"/>
                      <a:pt x="10" y="3"/>
                    </a:cubicBezTo>
                    <a:cubicBezTo>
                      <a:pt x="13" y="7"/>
                      <a:pt x="22" y="0"/>
                      <a:pt x="2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D5FFA29F-5E37-4582-B0D7-5073544373A9}"/>
                  </a:ext>
                </a:extLst>
              </p:cNvPr>
              <p:cNvSpPr/>
              <p:nvPr/>
            </p:nvSpPr>
            <p:spPr bwMode="auto">
              <a:xfrm>
                <a:off x="4109512" y="596988"/>
                <a:ext cx="56031" cy="37822"/>
              </a:xfrm>
              <a:custGeom>
                <a:avLst/>
                <a:gdLst>
                  <a:gd name="T0" fmla="*/ 13 w 27"/>
                  <a:gd name="T1" fmla="*/ 1 h 18"/>
                  <a:gd name="T2" fmla="*/ 9 w 27"/>
                  <a:gd name="T3" fmla="*/ 3 h 18"/>
                  <a:gd name="T4" fmla="*/ 18 w 27"/>
                  <a:gd name="T5" fmla="*/ 8 h 18"/>
                  <a:gd name="T6" fmla="*/ 22 w 27"/>
                  <a:gd name="T7" fmla="*/ 6 h 18"/>
                  <a:gd name="T8" fmla="*/ 11 w 27"/>
                  <a:gd name="T9" fmla="*/ 18 h 18"/>
                  <a:gd name="T10" fmla="*/ 0 w 27"/>
                  <a:gd name="T11" fmla="*/ 5 h 18"/>
                  <a:gd name="T12" fmla="*/ 13 w 27"/>
                  <a:gd name="T13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13" y="1"/>
                    </a:moveTo>
                    <a:cubicBezTo>
                      <a:pt x="13" y="3"/>
                      <a:pt x="10" y="2"/>
                      <a:pt x="9" y="3"/>
                    </a:cubicBezTo>
                    <a:cubicBezTo>
                      <a:pt x="9" y="8"/>
                      <a:pt x="21" y="0"/>
                      <a:pt x="18" y="8"/>
                    </a:cubicBezTo>
                    <a:cubicBezTo>
                      <a:pt x="20" y="9"/>
                      <a:pt x="22" y="8"/>
                      <a:pt x="22" y="6"/>
                    </a:cubicBezTo>
                    <a:cubicBezTo>
                      <a:pt x="27" y="12"/>
                      <a:pt x="12" y="13"/>
                      <a:pt x="11" y="18"/>
                    </a:cubicBezTo>
                    <a:cubicBezTo>
                      <a:pt x="6" y="14"/>
                      <a:pt x="7" y="5"/>
                      <a:pt x="0" y="5"/>
                    </a:cubicBezTo>
                    <a:cubicBezTo>
                      <a:pt x="2" y="1"/>
                      <a:pt x="9" y="3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74695034-FCE5-4926-BB99-90C51490C0E9}"/>
                  </a:ext>
                </a:extLst>
              </p:cNvPr>
              <p:cNvSpPr/>
              <p:nvPr/>
            </p:nvSpPr>
            <p:spPr bwMode="auto">
              <a:xfrm>
                <a:off x="5381422" y="639011"/>
                <a:ext cx="3276430" cy="2147400"/>
              </a:xfrm>
              <a:custGeom>
                <a:avLst/>
                <a:gdLst>
                  <a:gd name="T0" fmla="*/ 936 w 1575"/>
                  <a:gd name="T1" fmla="*/ 72 h 1033"/>
                  <a:gd name="T2" fmla="*/ 1105 w 1575"/>
                  <a:gd name="T3" fmla="*/ 72 h 1033"/>
                  <a:gd name="T4" fmla="*/ 1247 w 1575"/>
                  <a:gd name="T5" fmla="*/ 85 h 1033"/>
                  <a:gd name="T6" fmla="*/ 1432 w 1575"/>
                  <a:gd name="T7" fmla="*/ 115 h 1033"/>
                  <a:gd name="T8" fmla="*/ 1575 w 1575"/>
                  <a:gd name="T9" fmla="*/ 162 h 1033"/>
                  <a:gd name="T10" fmla="*/ 1484 w 1575"/>
                  <a:gd name="T11" fmla="*/ 184 h 1033"/>
                  <a:gd name="T12" fmla="*/ 1366 w 1575"/>
                  <a:gd name="T13" fmla="*/ 273 h 1033"/>
                  <a:gd name="T14" fmla="*/ 1320 w 1575"/>
                  <a:gd name="T15" fmla="*/ 301 h 1033"/>
                  <a:gd name="T16" fmla="*/ 1381 w 1575"/>
                  <a:gd name="T17" fmla="*/ 208 h 1033"/>
                  <a:gd name="T18" fmla="*/ 1247 w 1575"/>
                  <a:gd name="T19" fmla="*/ 247 h 1033"/>
                  <a:gd name="T20" fmla="*/ 1204 w 1575"/>
                  <a:gd name="T21" fmla="*/ 313 h 1033"/>
                  <a:gd name="T22" fmla="*/ 1130 w 1575"/>
                  <a:gd name="T23" fmla="*/ 415 h 1033"/>
                  <a:gd name="T24" fmla="*/ 1081 w 1575"/>
                  <a:gd name="T25" fmla="*/ 439 h 1033"/>
                  <a:gd name="T26" fmla="*/ 1061 w 1575"/>
                  <a:gd name="T27" fmla="*/ 464 h 1033"/>
                  <a:gd name="T28" fmla="*/ 993 w 1575"/>
                  <a:gd name="T29" fmla="*/ 587 h 1033"/>
                  <a:gd name="T30" fmla="*/ 956 w 1575"/>
                  <a:gd name="T31" fmla="*/ 674 h 1033"/>
                  <a:gd name="T32" fmla="*/ 895 w 1575"/>
                  <a:gd name="T33" fmla="*/ 685 h 1033"/>
                  <a:gd name="T34" fmla="*/ 882 w 1575"/>
                  <a:gd name="T35" fmla="*/ 689 h 1033"/>
                  <a:gd name="T36" fmla="*/ 848 w 1575"/>
                  <a:gd name="T37" fmla="*/ 602 h 1033"/>
                  <a:gd name="T38" fmla="*/ 742 w 1575"/>
                  <a:gd name="T39" fmla="*/ 657 h 1033"/>
                  <a:gd name="T40" fmla="*/ 665 w 1575"/>
                  <a:gd name="T41" fmla="*/ 579 h 1033"/>
                  <a:gd name="T42" fmla="*/ 524 w 1575"/>
                  <a:gd name="T43" fmla="*/ 557 h 1033"/>
                  <a:gd name="T44" fmla="*/ 557 w 1575"/>
                  <a:gd name="T45" fmla="*/ 616 h 1033"/>
                  <a:gd name="T46" fmla="*/ 453 w 1575"/>
                  <a:gd name="T47" fmla="*/ 622 h 1033"/>
                  <a:gd name="T48" fmla="*/ 391 w 1575"/>
                  <a:gd name="T49" fmla="*/ 546 h 1033"/>
                  <a:gd name="T50" fmla="*/ 440 w 1575"/>
                  <a:gd name="T51" fmla="*/ 646 h 1033"/>
                  <a:gd name="T52" fmla="*/ 470 w 1575"/>
                  <a:gd name="T53" fmla="*/ 749 h 1033"/>
                  <a:gd name="T54" fmla="*/ 412 w 1575"/>
                  <a:gd name="T55" fmla="*/ 898 h 1033"/>
                  <a:gd name="T56" fmla="*/ 352 w 1575"/>
                  <a:gd name="T57" fmla="*/ 1013 h 1033"/>
                  <a:gd name="T58" fmla="*/ 237 w 1575"/>
                  <a:gd name="T59" fmla="*/ 924 h 1033"/>
                  <a:gd name="T60" fmla="*/ 224 w 1575"/>
                  <a:gd name="T61" fmla="*/ 788 h 1033"/>
                  <a:gd name="T62" fmla="*/ 47 w 1575"/>
                  <a:gd name="T63" fmla="*/ 702 h 1033"/>
                  <a:gd name="T64" fmla="*/ 6 w 1575"/>
                  <a:gd name="T65" fmla="*/ 588 h 1033"/>
                  <a:gd name="T66" fmla="*/ 162 w 1575"/>
                  <a:gd name="T67" fmla="*/ 465 h 1033"/>
                  <a:gd name="T68" fmla="*/ 263 w 1575"/>
                  <a:gd name="T69" fmla="*/ 512 h 1033"/>
                  <a:gd name="T70" fmla="*/ 378 w 1575"/>
                  <a:gd name="T71" fmla="*/ 512 h 1033"/>
                  <a:gd name="T72" fmla="*/ 309 w 1575"/>
                  <a:gd name="T73" fmla="*/ 436 h 1033"/>
                  <a:gd name="T74" fmla="*/ 255 w 1575"/>
                  <a:gd name="T75" fmla="*/ 402 h 1033"/>
                  <a:gd name="T76" fmla="*/ 259 w 1575"/>
                  <a:gd name="T77" fmla="*/ 432 h 1033"/>
                  <a:gd name="T78" fmla="*/ 158 w 1575"/>
                  <a:gd name="T79" fmla="*/ 408 h 1033"/>
                  <a:gd name="T80" fmla="*/ 116 w 1575"/>
                  <a:gd name="T81" fmla="*/ 406 h 1033"/>
                  <a:gd name="T82" fmla="*/ 158 w 1575"/>
                  <a:gd name="T83" fmla="*/ 329 h 1033"/>
                  <a:gd name="T84" fmla="*/ 214 w 1575"/>
                  <a:gd name="T85" fmla="*/ 292 h 1033"/>
                  <a:gd name="T86" fmla="*/ 317 w 1575"/>
                  <a:gd name="T87" fmla="*/ 247 h 1033"/>
                  <a:gd name="T88" fmla="*/ 313 w 1575"/>
                  <a:gd name="T89" fmla="*/ 197 h 1033"/>
                  <a:gd name="T90" fmla="*/ 278 w 1575"/>
                  <a:gd name="T91" fmla="*/ 238 h 1033"/>
                  <a:gd name="T92" fmla="*/ 183 w 1575"/>
                  <a:gd name="T93" fmla="*/ 251 h 1033"/>
                  <a:gd name="T94" fmla="*/ 227 w 1575"/>
                  <a:gd name="T95" fmla="*/ 167 h 1033"/>
                  <a:gd name="T96" fmla="*/ 354 w 1575"/>
                  <a:gd name="T97" fmla="*/ 106 h 1033"/>
                  <a:gd name="T98" fmla="*/ 397 w 1575"/>
                  <a:gd name="T99" fmla="*/ 154 h 1033"/>
                  <a:gd name="T100" fmla="*/ 470 w 1575"/>
                  <a:gd name="T101" fmla="*/ 134 h 1033"/>
                  <a:gd name="T102" fmla="*/ 596 w 1575"/>
                  <a:gd name="T103" fmla="*/ 126 h 1033"/>
                  <a:gd name="T104" fmla="*/ 660 w 1575"/>
                  <a:gd name="T105" fmla="*/ 83 h 1033"/>
                  <a:gd name="T106" fmla="*/ 705 w 1575"/>
                  <a:gd name="T107" fmla="*/ 130 h 1033"/>
                  <a:gd name="T108" fmla="*/ 734 w 1575"/>
                  <a:gd name="T109" fmla="*/ 81 h 1033"/>
                  <a:gd name="T110" fmla="*/ 889 w 1575"/>
                  <a:gd name="T111" fmla="*/ 18 h 1033"/>
                  <a:gd name="T112" fmla="*/ 373 w 1575"/>
                  <a:gd name="T113" fmla="*/ 374 h 1033"/>
                  <a:gd name="T114" fmla="*/ 449 w 1575"/>
                  <a:gd name="T115" fmla="*/ 424 h 1033"/>
                  <a:gd name="T116" fmla="*/ 531 w 1575"/>
                  <a:gd name="T117" fmla="*/ 411 h 1033"/>
                  <a:gd name="T118" fmla="*/ 505 w 1575"/>
                  <a:gd name="T119" fmla="*/ 451 h 1033"/>
                  <a:gd name="T120" fmla="*/ 375 w 1575"/>
                  <a:gd name="T121" fmla="*/ 762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75" h="1033">
                    <a:moveTo>
                      <a:pt x="949" y="11"/>
                    </a:moveTo>
                    <a:cubicBezTo>
                      <a:pt x="949" y="13"/>
                      <a:pt x="952" y="12"/>
                      <a:pt x="954" y="13"/>
                    </a:cubicBezTo>
                    <a:cubicBezTo>
                      <a:pt x="954" y="15"/>
                      <a:pt x="951" y="14"/>
                      <a:pt x="949" y="14"/>
                    </a:cubicBezTo>
                    <a:cubicBezTo>
                      <a:pt x="957" y="22"/>
                      <a:pt x="965" y="11"/>
                      <a:pt x="979" y="14"/>
                    </a:cubicBezTo>
                    <a:cubicBezTo>
                      <a:pt x="982" y="19"/>
                      <a:pt x="987" y="22"/>
                      <a:pt x="993" y="24"/>
                    </a:cubicBezTo>
                    <a:cubicBezTo>
                      <a:pt x="994" y="26"/>
                      <a:pt x="993" y="29"/>
                      <a:pt x="993" y="31"/>
                    </a:cubicBezTo>
                    <a:cubicBezTo>
                      <a:pt x="994" y="33"/>
                      <a:pt x="998" y="33"/>
                      <a:pt x="997" y="37"/>
                    </a:cubicBezTo>
                    <a:cubicBezTo>
                      <a:pt x="993" y="36"/>
                      <a:pt x="994" y="39"/>
                      <a:pt x="993" y="42"/>
                    </a:cubicBezTo>
                    <a:cubicBezTo>
                      <a:pt x="992" y="41"/>
                      <a:pt x="989" y="40"/>
                      <a:pt x="986" y="40"/>
                    </a:cubicBezTo>
                    <a:cubicBezTo>
                      <a:pt x="983" y="41"/>
                      <a:pt x="986" y="43"/>
                      <a:pt x="984" y="44"/>
                    </a:cubicBezTo>
                    <a:cubicBezTo>
                      <a:pt x="983" y="45"/>
                      <a:pt x="982" y="42"/>
                      <a:pt x="980" y="42"/>
                    </a:cubicBezTo>
                    <a:cubicBezTo>
                      <a:pt x="979" y="43"/>
                      <a:pt x="975" y="46"/>
                      <a:pt x="969" y="44"/>
                    </a:cubicBezTo>
                    <a:cubicBezTo>
                      <a:pt x="967" y="44"/>
                      <a:pt x="968" y="47"/>
                      <a:pt x="967" y="48"/>
                    </a:cubicBezTo>
                    <a:cubicBezTo>
                      <a:pt x="967" y="48"/>
                      <a:pt x="964" y="47"/>
                      <a:pt x="964" y="48"/>
                    </a:cubicBezTo>
                    <a:cubicBezTo>
                      <a:pt x="963" y="50"/>
                      <a:pt x="967" y="51"/>
                      <a:pt x="964" y="55"/>
                    </a:cubicBezTo>
                    <a:cubicBezTo>
                      <a:pt x="963" y="52"/>
                      <a:pt x="954" y="56"/>
                      <a:pt x="958" y="57"/>
                    </a:cubicBezTo>
                    <a:cubicBezTo>
                      <a:pt x="954" y="61"/>
                      <a:pt x="948" y="59"/>
                      <a:pt x="943" y="61"/>
                    </a:cubicBezTo>
                    <a:cubicBezTo>
                      <a:pt x="940" y="62"/>
                      <a:pt x="938" y="67"/>
                      <a:pt x="934" y="67"/>
                    </a:cubicBezTo>
                    <a:cubicBezTo>
                      <a:pt x="934" y="69"/>
                      <a:pt x="934" y="72"/>
                      <a:pt x="932" y="72"/>
                    </a:cubicBezTo>
                    <a:cubicBezTo>
                      <a:pt x="933" y="75"/>
                      <a:pt x="934" y="72"/>
                      <a:pt x="936" y="72"/>
                    </a:cubicBezTo>
                    <a:cubicBezTo>
                      <a:pt x="941" y="72"/>
                      <a:pt x="943" y="68"/>
                      <a:pt x="947" y="67"/>
                    </a:cubicBezTo>
                    <a:cubicBezTo>
                      <a:pt x="950" y="66"/>
                      <a:pt x="950" y="69"/>
                      <a:pt x="952" y="68"/>
                    </a:cubicBezTo>
                    <a:cubicBezTo>
                      <a:pt x="955" y="68"/>
                      <a:pt x="955" y="65"/>
                      <a:pt x="956" y="65"/>
                    </a:cubicBezTo>
                    <a:cubicBezTo>
                      <a:pt x="960" y="63"/>
                      <a:pt x="965" y="65"/>
                      <a:pt x="969" y="63"/>
                    </a:cubicBezTo>
                    <a:cubicBezTo>
                      <a:pt x="972" y="62"/>
                      <a:pt x="968" y="60"/>
                      <a:pt x="971" y="59"/>
                    </a:cubicBezTo>
                    <a:cubicBezTo>
                      <a:pt x="972" y="59"/>
                      <a:pt x="974" y="60"/>
                      <a:pt x="975" y="59"/>
                    </a:cubicBezTo>
                    <a:cubicBezTo>
                      <a:pt x="975" y="59"/>
                      <a:pt x="976" y="55"/>
                      <a:pt x="977" y="55"/>
                    </a:cubicBezTo>
                    <a:cubicBezTo>
                      <a:pt x="977" y="55"/>
                      <a:pt x="982" y="57"/>
                      <a:pt x="984" y="57"/>
                    </a:cubicBezTo>
                    <a:cubicBezTo>
                      <a:pt x="989" y="57"/>
                      <a:pt x="989" y="56"/>
                      <a:pt x="993" y="55"/>
                    </a:cubicBezTo>
                    <a:cubicBezTo>
                      <a:pt x="993" y="57"/>
                      <a:pt x="993" y="59"/>
                      <a:pt x="993" y="61"/>
                    </a:cubicBezTo>
                    <a:cubicBezTo>
                      <a:pt x="996" y="59"/>
                      <a:pt x="997" y="59"/>
                      <a:pt x="997" y="63"/>
                    </a:cubicBezTo>
                    <a:cubicBezTo>
                      <a:pt x="1007" y="62"/>
                      <a:pt x="1023" y="64"/>
                      <a:pt x="1038" y="63"/>
                    </a:cubicBezTo>
                    <a:cubicBezTo>
                      <a:pt x="1037" y="71"/>
                      <a:pt x="1051" y="65"/>
                      <a:pt x="1049" y="74"/>
                    </a:cubicBezTo>
                    <a:cubicBezTo>
                      <a:pt x="1051" y="71"/>
                      <a:pt x="1054" y="74"/>
                      <a:pt x="1057" y="74"/>
                    </a:cubicBezTo>
                    <a:cubicBezTo>
                      <a:pt x="1062" y="74"/>
                      <a:pt x="1069" y="72"/>
                      <a:pt x="1072" y="74"/>
                    </a:cubicBezTo>
                    <a:cubicBezTo>
                      <a:pt x="1076" y="74"/>
                      <a:pt x="1072" y="66"/>
                      <a:pt x="1076" y="65"/>
                    </a:cubicBezTo>
                    <a:cubicBezTo>
                      <a:pt x="1082" y="66"/>
                      <a:pt x="1088" y="65"/>
                      <a:pt x="1094" y="67"/>
                    </a:cubicBezTo>
                    <a:cubicBezTo>
                      <a:pt x="1094" y="67"/>
                      <a:pt x="1094" y="68"/>
                      <a:pt x="1094" y="68"/>
                    </a:cubicBezTo>
                    <a:cubicBezTo>
                      <a:pt x="1097" y="69"/>
                      <a:pt x="1101" y="68"/>
                      <a:pt x="1103" y="68"/>
                    </a:cubicBezTo>
                    <a:cubicBezTo>
                      <a:pt x="1104" y="69"/>
                      <a:pt x="1105" y="72"/>
                      <a:pt x="1105" y="72"/>
                    </a:cubicBezTo>
                    <a:cubicBezTo>
                      <a:pt x="1108" y="74"/>
                      <a:pt x="1113" y="71"/>
                      <a:pt x="1115" y="74"/>
                    </a:cubicBezTo>
                    <a:cubicBezTo>
                      <a:pt x="1114" y="78"/>
                      <a:pt x="1114" y="82"/>
                      <a:pt x="1109" y="81"/>
                    </a:cubicBezTo>
                    <a:cubicBezTo>
                      <a:pt x="1109" y="85"/>
                      <a:pt x="1112" y="86"/>
                      <a:pt x="1117" y="85"/>
                    </a:cubicBezTo>
                    <a:cubicBezTo>
                      <a:pt x="1115" y="96"/>
                      <a:pt x="1124" y="97"/>
                      <a:pt x="1128" y="102"/>
                    </a:cubicBezTo>
                    <a:cubicBezTo>
                      <a:pt x="1131" y="100"/>
                      <a:pt x="1134" y="99"/>
                      <a:pt x="1137" y="96"/>
                    </a:cubicBezTo>
                    <a:cubicBezTo>
                      <a:pt x="1138" y="95"/>
                      <a:pt x="1138" y="92"/>
                      <a:pt x="1139" y="91"/>
                    </a:cubicBezTo>
                    <a:cubicBezTo>
                      <a:pt x="1140" y="90"/>
                      <a:pt x="1143" y="91"/>
                      <a:pt x="1143" y="89"/>
                    </a:cubicBezTo>
                    <a:cubicBezTo>
                      <a:pt x="1148" y="88"/>
                      <a:pt x="1146" y="93"/>
                      <a:pt x="1148" y="95"/>
                    </a:cubicBezTo>
                    <a:cubicBezTo>
                      <a:pt x="1153" y="95"/>
                      <a:pt x="1157" y="95"/>
                      <a:pt x="1161" y="95"/>
                    </a:cubicBezTo>
                    <a:cubicBezTo>
                      <a:pt x="1163" y="93"/>
                      <a:pt x="1168" y="94"/>
                      <a:pt x="1167" y="89"/>
                    </a:cubicBezTo>
                    <a:cubicBezTo>
                      <a:pt x="1173" y="91"/>
                      <a:pt x="1187" y="85"/>
                      <a:pt x="1187" y="93"/>
                    </a:cubicBezTo>
                    <a:cubicBezTo>
                      <a:pt x="1193" y="93"/>
                      <a:pt x="1191" y="86"/>
                      <a:pt x="1199" y="89"/>
                    </a:cubicBezTo>
                    <a:cubicBezTo>
                      <a:pt x="1198" y="87"/>
                      <a:pt x="1196" y="87"/>
                      <a:pt x="1195" y="87"/>
                    </a:cubicBezTo>
                    <a:cubicBezTo>
                      <a:pt x="1196" y="86"/>
                      <a:pt x="1196" y="82"/>
                      <a:pt x="1199" y="81"/>
                    </a:cubicBezTo>
                    <a:cubicBezTo>
                      <a:pt x="1204" y="82"/>
                      <a:pt x="1202" y="75"/>
                      <a:pt x="1210" y="78"/>
                    </a:cubicBezTo>
                    <a:cubicBezTo>
                      <a:pt x="1212" y="78"/>
                      <a:pt x="1210" y="75"/>
                      <a:pt x="1210" y="76"/>
                    </a:cubicBezTo>
                    <a:cubicBezTo>
                      <a:pt x="1213" y="72"/>
                      <a:pt x="1218" y="75"/>
                      <a:pt x="1225" y="74"/>
                    </a:cubicBezTo>
                    <a:cubicBezTo>
                      <a:pt x="1223" y="84"/>
                      <a:pt x="1235" y="71"/>
                      <a:pt x="1232" y="80"/>
                    </a:cubicBezTo>
                    <a:cubicBezTo>
                      <a:pt x="1240" y="81"/>
                      <a:pt x="1246" y="79"/>
                      <a:pt x="1253" y="78"/>
                    </a:cubicBezTo>
                    <a:cubicBezTo>
                      <a:pt x="1253" y="83"/>
                      <a:pt x="1245" y="79"/>
                      <a:pt x="1247" y="85"/>
                    </a:cubicBezTo>
                    <a:cubicBezTo>
                      <a:pt x="1248" y="89"/>
                      <a:pt x="1254" y="87"/>
                      <a:pt x="1258" y="87"/>
                    </a:cubicBezTo>
                    <a:cubicBezTo>
                      <a:pt x="1265" y="87"/>
                      <a:pt x="1271" y="87"/>
                      <a:pt x="1277" y="85"/>
                    </a:cubicBezTo>
                    <a:cubicBezTo>
                      <a:pt x="1278" y="92"/>
                      <a:pt x="1287" y="92"/>
                      <a:pt x="1290" y="98"/>
                    </a:cubicBezTo>
                    <a:cubicBezTo>
                      <a:pt x="1294" y="97"/>
                      <a:pt x="1296" y="100"/>
                      <a:pt x="1299" y="100"/>
                    </a:cubicBezTo>
                    <a:cubicBezTo>
                      <a:pt x="1311" y="101"/>
                      <a:pt x="1324" y="98"/>
                      <a:pt x="1335" y="100"/>
                    </a:cubicBezTo>
                    <a:cubicBezTo>
                      <a:pt x="1339" y="101"/>
                      <a:pt x="1343" y="106"/>
                      <a:pt x="1348" y="104"/>
                    </a:cubicBezTo>
                    <a:cubicBezTo>
                      <a:pt x="1347" y="107"/>
                      <a:pt x="1349" y="107"/>
                      <a:pt x="1351" y="108"/>
                    </a:cubicBezTo>
                    <a:cubicBezTo>
                      <a:pt x="1351" y="110"/>
                      <a:pt x="1351" y="113"/>
                      <a:pt x="1351" y="115"/>
                    </a:cubicBezTo>
                    <a:cubicBezTo>
                      <a:pt x="1351" y="118"/>
                      <a:pt x="1358" y="115"/>
                      <a:pt x="1359" y="117"/>
                    </a:cubicBezTo>
                    <a:cubicBezTo>
                      <a:pt x="1361" y="120"/>
                      <a:pt x="1360" y="116"/>
                      <a:pt x="1363" y="117"/>
                    </a:cubicBezTo>
                    <a:cubicBezTo>
                      <a:pt x="1363" y="117"/>
                      <a:pt x="1363" y="119"/>
                      <a:pt x="1364" y="119"/>
                    </a:cubicBezTo>
                    <a:cubicBezTo>
                      <a:pt x="1367" y="119"/>
                      <a:pt x="1387" y="121"/>
                      <a:pt x="1389" y="119"/>
                    </a:cubicBezTo>
                    <a:cubicBezTo>
                      <a:pt x="1389" y="119"/>
                      <a:pt x="1389" y="117"/>
                      <a:pt x="1389" y="117"/>
                    </a:cubicBezTo>
                    <a:cubicBezTo>
                      <a:pt x="1390" y="117"/>
                      <a:pt x="1394" y="119"/>
                      <a:pt x="1394" y="119"/>
                    </a:cubicBezTo>
                    <a:cubicBezTo>
                      <a:pt x="1396" y="117"/>
                      <a:pt x="1399" y="116"/>
                      <a:pt x="1400" y="119"/>
                    </a:cubicBezTo>
                    <a:cubicBezTo>
                      <a:pt x="1403" y="115"/>
                      <a:pt x="1409" y="115"/>
                      <a:pt x="1415" y="113"/>
                    </a:cubicBezTo>
                    <a:cubicBezTo>
                      <a:pt x="1414" y="119"/>
                      <a:pt x="1416" y="122"/>
                      <a:pt x="1417" y="126"/>
                    </a:cubicBezTo>
                    <a:cubicBezTo>
                      <a:pt x="1424" y="126"/>
                      <a:pt x="1427" y="130"/>
                      <a:pt x="1433" y="126"/>
                    </a:cubicBezTo>
                    <a:cubicBezTo>
                      <a:pt x="1434" y="123"/>
                      <a:pt x="1432" y="123"/>
                      <a:pt x="1430" y="122"/>
                    </a:cubicBezTo>
                    <a:cubicBezTo>
                      <a:pt x="1431" y="121"/>
                      <a:pt x="1432" y="118"/>
                      <a:pt x="1432" y="115"/>
                    </a:cubicBezTo>
                    <a:cubicBezTo>
                      <a:pt x="1436" y="111"/>
                      <a:pt x="1448" y="113"/>
                      <a:pt x="1450" y="117"/>
                    </a:cubicBezTo>
                    <a:cubicBezTo>
                      <a:pt x="1458" y="117"/>
                      <a:pt x="1466" y="116"/>
                      <a:pt x="1474" y="117"/>
                    </a:cubicBezTo>
                    <a:cubicBezTo>
                      <a:pt x="1477" y="117"/>
                      <a:pt x="1483" y="121"/>
                      <a:pt x="1484" y="117"/>
                    </a:cubicBezTo>
                    <a:cubicBezTo>
                      <a:pt x="1488" y="119"/>
                      <a:pt x="1487" y="121"/>
                      <a:pt x="1493" y="122"/>
                    </a:cubicBezTo>
                    <a:cubicBezTo>
                      <a:pt x="1495" y="123"/>
                      <a:pt x="1496" y="126"/>
                      <a:pt x="1497" y="126"/>
                    </a:cubicBezTo>
                    <a:cubicBezTo>
                      <a:pt x="1498" y="126"/>
                      <a:pt x="1499" y="125"/>
                      <a:pt x="1499" y="124"/>
                    </a:cubicBezTo>
                    <a:cubicBezTo>
                      <a:pt x="1501" y="125"/>
                      <a:pt x="1499" y="127"/>
                      <a:pt x="1500" y="128"/>
                    </a:cubicBezTo>
                    <a:cubicBezTo>
                      <a:pt x="1501" y="129"/>
                      <a:pt x="1504" y="127"/>
                      <a:pt x="1504" y="128"/>
                    </a:cubicBezTo>
                    <a:cubicBezTo>
                      <a:pt x="1505" y="129"/>
                      <a:pt x="1509" y="130"/>
                      <a:pt x="1514" y="132"/>
                    </a:cubicBezTo>
                    <a:cubicBezTo>
                      <a:pt x="1516" y="133"/>
                      <a:pt x="1521" y="134"/>
                      <a:pt x="1525" y="136"/>
                    </a:cubicBezTo>
                    <a:cubicBezTo>
                      <a:pt x="1526" y="136"/>
                      <a:pt x="1526" y="139"/>
                      <a:pt x="1527" y="139"/>
                    </a:cubicBezTo>
                    <a:cubicBezTo>
                      <a:pt x="1527" y="140"/>
                      <a:pt x="1530" y="139"/>
                      <a:pt x="1530" y="139"/>
                    </a:cubicBezTo>
                    <a:cubicBezTo>
                      <a:pt x="1531" y="140"/>
                      <a:pt x="1530" y="142"/>
                      <a:pt x="1530" y="143"/>
                    </a:cubicBezTo>
                    <a:cubicBezTo>
                      <a:pt x="1531" y="144"/>
                      <a:pt x="1534" y="142"/>
                      <a:pt x="1534" y="143"/>
                    </a:cubicBezTo>
                    <a:cubicBezTo>
                      <a:pt x="1535" y="145"/>
                      <a:pt x="1532" y="151"/>
                      <a:pt x="1540" y="149"/>
                    </a:cubicBezTo>
                    <a:cubicBezTo>
                      <a:pt x="1540" y="153"/>
                      <a:pt x="1540" y="157"/>
                      <a:pt x="1540" y="162"/>
                    </a:cubicBezTo>
                    <a:cubicBezTo>
                      <a:pt x="1546" y="161"/>
                      <a:pt x="1551" y="160"/>
                      <a:pt x="1553" y="154"/>
                    </a:cubicBezTo>
                    <a:cubicBezTo>
                      <a:pt x="1558" y="157"/>
                      <a:pt x="1565" y="156"/>
                      <a:pt x="1569" y="158"/>
                    </a:cubicBezTo>
                    <a:cubicBezTo>
                      <a:pt x="1570" y="158"/>
                      <a:pt x="1569" y="161"/>
                      <a:pt x="1569" y="162"/>
                    </a:cubicBezTo>
                    <a:cubicBezTo>
                      <a:pt x="1570" y="163"/>
                      <a:pt x="1574" y="161"/>
                      <a:pt x="1575" y="162"/>
                    </a:cubicBezTo>
                    <a:cubicBezTo>
                      <a:pt x="1574" y="164"/>
                      <a:pt x="1571" y="164"/>
                      <a:pt x="1571" y="167"/>
                    </a:cubicBezTo>
                    <a:cubicBezTo>
                      <a:pt x="1568" y="168"/>
                      <a:pt x="1568" y="165"/>
                      <a:pt x="1566" y="165"/>
                    </a:cubicBezTo>
                    <a:cubicBezTo>
                      <a:pt x="1564" y="167"/>
                      <a:pt x="1564" y="170"/>
                      <a:pt x="1560" y="169"/>
                    </a:cubicBezTo>
                    <a:cubicBezTo>
                      <a:pt x="1561" y="172"/>
                      <a:pt x="1566" y="171"/>
                      <a:pt x="1564" y="177"/>
                    </a:cubicBezTo>
                    <a:cubicBezTo>
                      <a:pt x="1557" y="171"/>
                      <a:pt x="1563" y="179"/>
                      <a:pt x="1558" y="180"/>
                    </a:cubicBezTo>
                    <a:cubicBezTo>
                      <a:pt x="1557" y="181"/>
                      <a:pt x="1555" y="182"/>
                      <a:pt x="1554" y="184"/>
                    </a:cubicBezTo>
                    <a:cubicBezTo>
                      <a:pt x="1552" y="184"/>
                      <a:pt x="1551" y="183"/>
                      <a:pt x="1549" y="182"/>
                    </a:cubicBezTo>
                    <a:cubicBezTo>
                      <a:pt x="1548" y="181"/>
                      <a:pt x="1546" y="179"/>
                      <a:pt x="1545" y="178"/>
                    </a:cubicBezTo>
                    <a:cubicBezTo>
                      <a:pt x="1542" y="177"/>
                      <a:pt x="1540" y="178"/>
                      <a:pt x="1538" y="177"/>
                    </a:cubicBezTo>
                    <a:cubicBezTo>
                      <a:pt x="1536" y="176"/>
                      <a:pt x="1535" y="173"/>
                      <a:pt x="1534" y="173"/>
                    </a:cubicBezTo>
                    <a:cubicBezTo>
                      <a:pt x="1532" y="172"/>
                      <a:pt x="1529" y="173"/>
                      <a:pt x="1527" y="173"/>
                    </a:cubicBezTo>
                    <a:cubicBezTo>
                      <a:pt x="1526" y="173"/>
                      <a:pt x="1526" y="171"/>
                      <a:pt x="1525" y="171"/>
                    </a:cubicBezTo>
                    <a:cubicBezTo>
                      <a:pt x="1522" y="171"/>
                      <a:pt x="1520" y="164"/>
                      <a:pt x="1517" y="169"/>
                    </a:cubicBezTo>
                    <a:cubicBezTo>
                      <a:pt x="1515" y="169"/>
                      <a:pt x="1516" y="166"/>
                      <a:pt x="1515" y="163"/>
                    </a:cubicBezTo>
                    <a:cubicBezTo>
                      <a:pt x="1512" y="163"/>
                      <a:pt x="1508" y="163"/>
                      <a:pt x="1504" y="163"/>
                    </a:cubicBezTo>
                    <a:cubicBezTo>
                      <a:pt x="1500" y="164"/>
                      <a:pt x="1504" y="168"/>
                      <a:pt x="1504" y="167"/>
                    </a:cubicBezTo>
                    <a:cubicBezTo>
                      <a:pt x="1504" y="170"/>
                      <a:pt x="1500" y="170"/>
                      <a:pt x="1500" y="175"/>
                    </a:cubicBezTo>
                    <a:cubicBezTo>
                      <a:pt x="1492" y="174"/>
                      <a:pt x="1491" y="180"/>
                      <a:pt x="1482" y="178"/>
                    </a:cubicBezTo>
                    <a:cubicBezTo>
                      <a:pt x="1480" y="180"/>
                      <a:pt x="1480" y="183"/>
                      <a:pt x="1476" y="182"/>
                    </a:cubicBezTo>
                    <a:cubicBezTo>
                      <a:pt x="1477" y="185"/>
                      <a:pt x="1481" y="184"/>
                      <a:pt x="1484" y="184"/>
                    </a:cubicBezTo>
                    <a:cubicBezTo>
                      <a:pt x="1486" y="185"/>
                      <a:pt x="1487" y="187"/>
                      <a:pt x="1489" y="188"/>
                    </a:cubicBezTo>
                    <a:cubicBezTo>
                      <a:pt x="1488" y="194"/>
                      <a:pt x="1488" y="192"/>
                      <a:pt x="1491" y="195"/>
                    </a:cubicBezTo>
                    <a:cubicBezTo>
                      <a:pt x="1493" y="199"/>
                      <a:pt x="1498" y="200"/>
                      <a:pt x="1500" y="203"/>
                    </a:cubicBezTo>
                    <a:cubicBezTo>
                      <a:pt x="1500" y="203"/>
                      <a:pt x="1495" y="208"/>
                      <a:pt x="1495" y="208"/>
                    </a:cubicBezTo>
                    <a:cubicBezTo>
                      <a:pt x="1490" y="209"/>
                      <a:pt x="1490" y="204"/>
                      <a:pt x="1487" y="204"/>
                    </a:cubicBezTo>
                    <a:cubicBezTo>
                      <a:pt x="1488" y="204"/>
                      <a:pt x="1490" y="208"/>
                      <a:pt x="1487" y="208"/>
                    </a:cubicBezTo>
                    <a:cubicBezTo>
                      <a:pt x="1482" y="209"/>
                      <a:pt x="1473" y="208"/>
                      <a:pt x="1467" y="210"/>
                    </a:cubicBezTo>
                    <a:cubicBezTo>
                      <a:pt x="1464" y="211"/>
                      <a:pt x="1457" y="213"/>
                      <a:pt x="1458" y="218"/>
                    </a:cubicBezTo>
                    <a:cubicBezTo>
                      <a:pt x="1449" y="216"/>
                      <a:pt x="1448" y="222"/>
                      <a:pt x="1443" y="223"/>
                    </a:cubicBezTo>
                    <a:cubicBezTo>
                      <a:pt x="1441" y="225"/>
                      <a:pt x="1441" y="226"/>
                      <a:pt x="1439" y="227"/>
                    </a:cubicBezTo>
                    <a:cubicBezTo>
                      <a:pt x="1438" y="228"/>
                      <a:pt x="1435" y="231"/>
                      <a:pt x="1433" y="231"/>
                    </a:cubicBezTo>
                    <a:cubicBezTo>
                      <a:pt x="1432" y="231"/>
                      <a:pt x="1430" y="233"/>
                      <a:pt x="1430" y="234"/>
                    </a:cubicBezTo>
                    <a:cubicBezTo>
                      <a:pt x="1424" y="233"/>
                      <a:pt x="1414" y="237"/>
                      <a:pt x="1411" y="232"/>
                    </a:cubicBezTo>
                    <a:cubicBezTo>
                      <a:pt x="1409" y="234"/>
                      <a:pt x="1404" y="233"/>
                      <a:pt x="1405" y="238"/>
                    </a:cubicBezTo>
                    <a:cubicBezTo>
                      <a:pt x="1395" y="239"/>
                      <a:pt x="1394" y="239"/>
                      <a:pt x="1383" y="238"/>
                    </a:cubicBezTo>
                    <a:cubicBezTo>
                      <a:pt x="1382" y="238"/>
                      <a:pt x="1381" y="240"/>
                      <a:pt x="1379" y="240"/>
                    </a:cubicBezTo>
                    <a:cubicBezTo>
                      <a:pt x="1378" y="241"/>
                      <a:pt x="1374" y="242"/>
                      <a:pt x="1374" y="246"/>
                    </a:cubicBezTo>
                    <a:cubicBezTo>
                      <a:pt x="1373" y="251"/>
                      <a:pt x="1365" y="248"/>
                      <a:pt x="1366" y="257"/>
                    </a:cubicBezTo>
                    <a:cubicBezTo>
                      <a:pt x="1365" y="263"/>
                      <a:pt x="1371" y="262"/>
                      <a:pt x="1374" y="264"/>
                    </a:cubicBezTo>
                    <a:cubicBezTo>
                      <a:pt x="1373" y="269"/>
                      <a:pt x="1372" y="274"/>
                      <a:pt x="1366" y="273"/>
                    </a:cubicBezTo>
                    <a:cubicBezTo>
                      <a:pt x="1367" y="277"/>
                      <a:pt x="1366" y="279"/>
                      <a:pt x="1363" y="279"/>
                    </a:cubicBezTo>
                    <a:cubicBezTo>
                      <a:pt x="1363" y="282"/>
                      <a:pt x="1363" y="284"/>
                      <a:pt x="1363" y="287"/>
                    </a:cubicBezTo>
                    <a:cubicBezTo>
                      <a:pt x="1363" y="289"/>
                      <a:pt x="1366" y="285"/>
                      <a:pt x="1366" y="288"/>
                    </a:cubicBezTo>
                    <a:cubicBezTo>
                      <a:pt x="1368" y="292"/>
                      <a:pt x="1364" y="291"/>
                      <a:pt x="1363" y="292"/>
                    </a:cubicBezTo>
                    <a:cubicBezTo>
                      <a:pt x="1362" y="293"/>
                      <a:pt x="1361" y="297"/>
                      <a:pt x="1361" y="298"/>
                    </a:cubicBezTo>
                    <a:cubicBezTo>
                      <a:pt x="1359" y="299"/>
                      <a:pt x="1353" y="298"/>
                      <a:pt x="1351" y="300"/>
                    </a:cubicBezTo>
                    <a:cubicBezTo>
                      <a:pt x="1350" y="301"/>
                      <a:pt x="1353" y="306"/>
                      <a:pt x="1351" y="307"/>
                    </a:cubicBezTo>
                    <a:cubicBezTo>
                      <a:pt x="1350" y="308"/>
                      <a:pt x="1350" y="303"/>
                      <a:pt x="1350" y="303"/>
                    </a:cubicBezTo>
                    <a:cubicBezTo>
                      <a:pt x="1348" y="303"/>
                      <a:pt x="1344" y="304"/>
                      <a:pt x="1348" y="313"/>
                    </a:cubicBezTo>
                    <a:cubicBezTo>
                      <a:pt x="1344" y="311"/>
                      <a:pt x="1345" y="315"/>
                      <a:pt x="1344" y="316"/>
                    </a:cubicBezTo>
                    <a:cubicBezTo>
                      <a:pt x="1343" y="317"/>
                      <a:pt x="1341" y="316"/>
                      <a:pt x="1340" y="316"/>
                    </a:cubicBezTo>
                    <a:cubicBezTo>
                      <a:pt x="1339" y="317"/>
                      <a:pt x="1340" y="322"/>
                      <a:pt x="1336" y="320"/>
                    </a:cubicBezTo>
                    <a:cubicBezTo>
                      <a:pt x="1337" y="323"/>
                      <a:pt x="1334" y="324"/>
                      <a:pt x="1335" y="328"/>
                    </a:cubicBezTo>
                    <a:cubicBezTo>
                      <a:pt x="1332" y="328"/>
                      <a:pt x="1327" y="327"/>
                      <a:pt x="1327" y="329"/>
                    </a:cubicBezTo>
                    <a:cubicBezTo>
                      <a:pt x="1325" y="329"/>
                      <a:pt x="1328" y="327"/>
                      <a:pt x="1327" y="324"/>
                    </a:cubicBezTo>
                    <a:cubicBezTo>
                      <a:pt x="1327" y="324"/>
                      <a:pt x="1325" y="323"/>
                      <a:pt x="1325" y="322"/>
                    </a:cubicBezTo>
                    <a:cubicBezTo>
                      <a:pt x="1325" y="321"/>
                      <a:pt x="1325" y="319"/>
                      <a:pt x="1325" y="318"/>
                    </a:cubicBezTo>
                    <a:cubicBezTo>
                      <a:pt x="1324" y="317"/>
                      <a:pt x="1323" y="315"/>
                      <a:pt x="1322" y="314"/>
                    </a:cubicBezTo>
                    <a:cubicBezTo>
                      <a:pt x="1321" y="314"/>
                      <a:pt x="1320" y="312"/>
                      <a:pt x="1318" y="313"/>
                    </a:cubicBezTo>
                    <a:cubicBezTo>
                      <a:pt x="1320" y="310"/>
                      <a:pt x="1320" y="305"/>
                      <a:pt x="1320" y="301"/>
                    </a:cubicBezTo>
                    <a:cubicBezTo>
                      <a:pt x="1320" y="298"/>
                      <a:pt x="1318" y="298"/>
                      <a:pt x="1318" y="296"/>
                    </a:cubicBezTo>
                    <a:cubicBezTo>
                      <a:pt x="1317" y="289"/>
                      <a:pt x="1320" y="281"/>
                      <a:pt x="1318" y="275"/>
                    </a:cubicBezTo>
                    <a:cubicBezTo>
                      <a:pt x="1325" y="281"/>
                      <a:pt x="1319" y="272"/>
                      <a:pt x="1322" y="268"/>
                    </a:cubicBezTo>
                    <a:cubicBezTo>
                      <a:pt x="1322" y="267"/>
                      <a:pt x="1324" y="274"/>
                      <a:pt x="1325" y="270"/>
                    </a:cubicBezTo>
                    <a:cubicBezTo>
                      <a:pt x="1325" y="269"/>
                      <a:pt x="1325" y="267"/>
                      <a:pt x="1325" y="266"/>
                    </a:cubicBezTo>
                    <a:cubicBezTo>
                      <a:pt x="1327" y="263"/>
                      <a:pt x="1335" y="258"/>
                      <a:pt x="1336" y="257"/>
                    </a:cubicBezTo>
                    <a:cubicBezTo>
                      <a:pt x="1336" y="257"/>
                      <a:pt x="1340" y="256"/>
                      <a:pt x="1338" y="255"/>
                    </a:cubicBezTo>
                    <a:cubicBezTo>
                      <a:pt x="1336" y="253"/>
                      <a:pt x="1339" y="253"/>
                      <a:pt x="1342" y="253"/>
                    </a:cubicBezTo>
                    <a:cubicBezTo>
                      <a:pt x="1345" y="251"/>
                      <a:pt x="1346" y="248"/>
                      <a:pt x="1346" y="244"/>
                    </a:cubicBezTo>
                    <a:cubicBezTo>
                      <a:pt x="1346" y="243"/>
                      <a:pt x="1352" y="241"/>
                      <a:pt x="1351" y="240"/>
                    </a:cubicBezTo>
                    <a:cubicBezTo>
                      <a:pt x="1351" y="240"/>
                      <a:pt x="1350" y="240"/>
                      <a:pt x="1350" y="240"/>
                    </a:cubicBezTo>
                    <a:cubicBezTo>
                      <a:pt x="1350" y="240"/>
                      <a:pt x="1351" y="236"/>
                      <a:pt x="1351" y="236"/>
                    </a:cubicBezTo>
                    <a:cubicBezTo>
                      <a:pt x="1353" y="236"/>
                      <a:pt x="1356" y="241"/>
                      <a:pt x="1355" y="232"/>
                    </a:cubicBezTo>
                    <a:cubicBezTo>
                      <a:pt x="1358" y="232"/>
                      <a:pt x="1362" y="232"/>
                      <a:pt x="1364" y="231"/>
                    </a:cubicBezTo>
                    <a:cubicBezTo>
                      <a:pt x="1365" y="230"/>
                      <a:pt x="1366" y="227"/>
                      <a:pt x="1366" y="227"/>
                    </a:cubicBezTo>
                    <a:cubicBezTo>
                      <a:pt x="1367" y="226"/>
                      <a:pt x="1369" y="227"/>
                      <a:pt x="1370" y="227"/>
                    </a:cubicBezTo>
                    <a:cubicBezTo>
                      <a:pt x="1371" y="226"/>
                      <a:pt x="1373" y="224"/>
                      <a:pt x="1374" y="223"/>
                    </a:cubicBezTo>
                    <a:cubicBezTo>
                      <a:pt x="1375" y="222"/>
                      <a:pt x="1375" y="223"/>
                      <a:pt x="1376" y="221"/>
                    </a:cubicBezTo>
                    <a:cubicBezTo>
                      <a:pt x="1376" y="219"/>
                      <a:pt x="1378" y="214"/>
                      <a:pt x="1381" y="218"/>
                    </a:cubicBezTo>
                    <a:cubicBezTo>
                      <a:pt x="1381" y="214"/>
                      <a:pt x="1381" y="211"/>
                      <a:pt x="1381" y="208"/>
                    </a:cubicBezTo>
                    <a:cubicBezTo>
                      <a:pt x="1377" y="208"/>
                      <a:pt x="1374" y="209"/>
                      <a:pt x="1372" y="210"/>
                    </a:cubicBezTo>
                    <a:cubicBezTo>
                      <a:pt x="1371" y="211"/>
                      <a:pt x="1369" y="213"/>
                      <a:pt x="1368" y="214"/>
                    </a:cubicBezTo>
                    <a:cubicBezTo>
                      <a:pt x="1367" y="215"/>
                      <a:pt x="1366" y="214"/>
                      <a:pt x="1366" y="216"/>
                    </a:cubicBezTo>
                    <a:cubicBezTo>
                      <a:pt x="1366" y="219"/>
                      <a:pt x="1359" y="218"/>
                      <a:pt x="1359" y="223"/>
                    </a:cubicBezTo>
                    <a:cubicBezTo>
                      <a:pt x="1355" y="223"/>
                      <a:pt x="1353" y="224"/>
                      <a:pt x="1353" y="227"/>
                    </a:cubicBezTo>
                    <a:cubicBezTo>
                      <a:pt x="1351" y="227"/>
                      <a:pt x="1352" y="224"/>
                      <a:pt x="1351" y="223"/>
                    </a:cubicBezTo>
                    <a:cubicBezTo>
                      <a:pt x="1351" y="223"/>
                      <a:pt x="1348" y="224"/>
                      <a:pt x="1348" y="223"/>
                    </a:cubicBezTo>
                    <a:cubicBezTo>
                      <a:pt x="1347" y="222"/>
                      <a:pt x="1348" y="219"/>
                      <a:pt x="1348" y="218"/>
                    </a:cubicBezTo>
                    <a:cubicBezTo>
                      <a:pt x="1340" y="219"/>
                      <a:pt x="1335" y="216"/>
                      <a:pt x="1329" y="218"/>
                    </a:cubicBezTo>
                    <a:cubicBezTo>
                      <a:pt x="1327" y="218"/>
                      <a:pt x="1329" y="220"/>
                      <a:pt x="1327" y="221"/>
                    </a:cubicBezTo>
                    <a:cubicBezTo>
                      <a:pt x="1325" y="223"/>
                      <a:pt x="1322" y="222"/>
                      <a:pt x="1320" y="223"/>
                    </a:cubicBezTo>
                    <a:cubicBezTo>
                      <a:pt x="1316" y="225"/>
                      <a:pt x="1316" y="226"/>
                      <a:pt x="1314" y="229"/>
                    </a:cubicBezTo>
                    <a:cubicBezTo>
                      <a:pt x="1313" y="230"/>
                      <a:pt x="1312" y="233"/>
                      <a:pt x="1308" y="232"/>
                    </a:cubicBezTo>
                    <a:cubicBezTo>
                      <a:pt x="1307" y="238"/>
                      <a:pt x="1311" y="237"/>
                      <a:pt x="1310" y="242"/>
                    </a:cubicBezTo>
                    <a:cubicBezTo>
                      <a:pt x="1308" y="243"/>
                      <a:pt x="1307" y="244"/>
                      <a:pt x="1307" y="247"/>
                    </a:cubicBezTo>
                    <a:cubicBezTo>
                      <a:pt x="1299" y="246"/>
                      <a:pt x="1297" y="250"/>
                      <a:pt x="1290" y="249"/>
                    </a:cubicBezTo>
                    <a:cubicBezTo>
                      <a:pt x="1288" y="247"/>
                      <a:pt x="1289" y="246"/>
                      <a:pt x="1290" y="244"/>
                    </a:cubicBezTo>
                    <a:cubicBezTo>
                      <a:pt x="1287" y="244"/>
                      <a:pt x="1286" y="242"/>
                      <a:pt x="1286" y="240"/>
                    </a:cubicBezTo>
                    <a:cubicBezTo>
                      <a:pt x="1283" y="240"/>
                      <a:pt x="1279" y="241"/>
                      <a:pt x="1279" y="238"/>
                    </a:cubicBezTo>
                    <a:cubicBezTo>
                      <a:pt x="1270" y="243"/>
                      <a:pt x="1259" y="246"/>
                      <a:pt x="1247" y="247"/>
                    </a:cubicBezTo>
                    <a:cubicBezTo>
                      <a:pt x="1246" y="244"/>
                      <a:pt x="1241" y="246"/>
                      <a:pt x="1243" y="240"/>
                    </a:cubicBezTo>
                    <a:cubicBezTo>
                      <a:pt x="1241" y="240"/>
                      <a:pt x="1238" y="240"/>
                      <a:pt x="1236" y="240"/>
                    </a:cubicBezTo>
                    <a:cubicBezTo>
                      <a:pt x="1228" y="242"/>
                      <a:pt x="1222" y="244"/>
                      <a:pt x="1215" y="247"/>
                    </a:cubicBezTo>
                    <a:cubicBezTo>
                      <a:pt x="1210" y="250"/>
                      <a:pt x="1206" y="255"/>
                      <a:pt x="1200" y="257"/>
                    </a:cubicBezTo>
                    <a:cubicBezTo>
                      <a:pt x="1201" y="260"/>
                      <a:pt x="1200" y="263"/>
                      <a:pt x="1197" y="262"/>
                    </a:cubicBezTo>
                    <a:cubicBezTo>
                      <a:pt x="1198" y="268"/>
                      <a:pt x="1194" y="267"/>
                      <a:pt x="1195" y="272"/>
                    </a:cubicBezTo>
                    <a:cubicBezTo>
                      <a:pt x="1191" y="268"/>
                      <a:pt x="1187" y="279"/>
                      <a:pt x="1185" y="277"/>
                    </a:cubicBezTo>
                    <a:cubicBezTo>
                      <a:pt x="1182" y="274"/>
                      <a:pt x="1185" y="279"/>
                      <a:pt x="1180" y="279"/>
                    </a:cubicBezTo>
                    <a:cubicBezTo>
                      <a:pt x="1177" y="279"/>
                      <a:pt x="1176" y="280"/>
                      <a:pt x="1176" y="283"/>
                    </a:cubicBezTo>
                    <a:cubicBezTo>
                      <a:pt x="1167" y="280"/>
                      <a:pt x="1170" y="289"/>
                      <a:pt x="1163" y="288"/>
                    </a:cubicBezTo>
                    <a:cubicBezTo>
                      <a:pt x="1164" y="290"/>
                      <a:pt x="1169" y="298"/>
                      <a:pt x="1171" y="294"/>
                    </a:cubicBezTo>
                    <a:cubicBezTo>
                      <a:pt x="1173" y="295"/>
                      <a:pt x="1172" y="299"/>
                      <a:pt x="1172" y="301"/>
                    </a:cubicBezTo>
                    <a:cubicBezTo>
                      <a:pt x="1175" y="300"/>
                      <a:pt x="1178" y="303"/>
                      <a:pt x="1178" y="303"/>
                    </a:cubicBezTo>
                    <a:cubicBezTo>
                      <a:pt x="1180" y="303"/>
                      <a:pt x="1182" y="301"/>
                      <a:pt x="1185" y="301"/>
                    </a:cubicBezTo>
                    <a:cubicBezTo>
                      <a:pt x="1186" y="302"/>
                      <a:pt x="1188" y="303"/>
                      <a:pt x="1187" y="303"/>
                    </a:cubicBezTo>
                    <a:cubicBezTo>
                      <a:pt x="1190" y="303"/>
                      <a:pt x="1192" y="298"/>
                      <a:pt x="1193" y="301"/>
                    </a:cubicBezTo>
                    <a:cubicBezTo>
                      <a:pt x="1195" y="301"/>
                      <a:pt x="1194" y="299"/>
                      <a:pt x="1195" y="298"/>
                    </a:cubicBezTo>
                    <a:cubicBezTo>
                      <a:pt x="1198" y="299"/>
                      <a:pt x="1198" y="312"/>
                      <a:pt x="1202" y="305"/>
                    </a:cubicBezTo>
                    <a:cubicBezTo>
                      <a:pt x="1207" y="304"/>
                      <a:pt x="1201" y="314"/>
                      <a:pt x="1208" y="311"/>
                    </a:cubicBezTo>
                    <a:cubicBezTo>
                      <a:pt x="1208" y="313"/>
                      <a:pt x="1205" y="312"/>
                      <a:pt x="1204" y="313"/>
                    </a:cubicBezTo>
                    <a:cubicBezTo>
                      <a:pt x="1204" y="313"/>
                      <a:pt x="1207" y="318"/>
                      <a:pt x="1206" y="320"/>
                    </a:cubicBezTo>
                    <a:cubicBezTo>
                      <a:pt x="1206" y="321"/>
                      <a:pt x="1204" y="320"/>
                      <a:pt x="1204" y="322"/>
                    </a:cubicBezTo>
                    <a:cubicBezTo>
                      <a:pt x="1204" y="323"/>
                      <a:pt x="1202" y="324"/>
                      <a:pt x="1202" y="326"/>
                    </a:cubicBezTo>
                    <a:cubicBezTo>
                      <a:pt x="1201" y="332"/>
                      <a:pt x="1205" y="342"/>
                      <a:pt x="1199" y="337"/>
                    </a:cubicBezTo>
                    <a:cubicBezTo>
                      <a:pt x="1200" y="353"/>
                      <a:pt x="1193" y="361"/>
                      <a:pt x="1189" y="372"/>
                    </a:cubicBezTo>
                    <a:cubicBezTo>
                      <a:pt x="1187" y="374"/>
                      <a:pt x="1186" y="373"/>
                      <a:pt x="1184" y="372"/>
                    </a:cubicBezTo>
                    <a:cubicBezTo>
                      <a:pt x="1183" y="374"/>
                      <a:pt x="1184" y="376"/>
                      <a:pt x="1184" y="378"/>
                    </a:cubicBezTo>
                    <a:cubicBezTo>
                      <a:pt x="1183" y="380"/>
                      <a:pt x="1180" y="378"/>
                      <a:pt x="1178" y="380"/>
                    </a:cubicBezTo>
                    <a:cubicBezTo>
                      <a:pt x="1177" y="380"/>
                      <a:pt x="1179" y="383"/>
                      <a:pt x="1178" y="383"/>
                    </a:cubicBezTo>
                    <a:cubicBezTo>
                      <a:pt x="1177" y="384"/>
                      <a:pt x="1175" y="383"/>
                      <a:pt x="1174" y="383"/>
                    </a:cubicBezTo>
                    <a:cubicBezTo>
                      <a:pt x="1173" y="385"/>
                      <a:pt x="1176" y="386"/>
                      <a:pt x="1176" y="385"/>
                    </a:cubicBezTo>
                    <a:cubicBezTo>
                      <a:pt x="1175" y="387"/>
                      <a:pt x="1172" y="387"/>
                      <a:pt x="1171" y="389"/>
                    </a:cubicBezTo>
                    <a:cubicBezTo>
                      <a:pt x="1170" y="390"/>
                      <a:pt x="1170" y="393"/>
                      <a:pt x="1169" y="395"/>
                    </a:cubicBezTo>
                    <a:cubicBezTo>
                      <a:pt x="1167" y="396"/>
                      <a:pt x="1165" y="395"/>
                      <a:pt x="1163" y="396"/>
                    </a:cubicBezTo>
                    <a:cubicBezTo>
                      <a:pt x="1161" y="398"/>
                      <a:pt x="1163" y="400"/>
                      <a:pt x="1161" y="402"/>
                    </a:cubicBezTo>
                    <a:cubicBezTo>
                      <a:pt x="1161" y="403"/>
                      <a:pt x="1158" y="401"/>
                      <a:pt x="1158" y="402"/>
                    </a:cubicBezTo>
                    <a:cubicBezTo>
                      <a:pt x="1157" y="402"/>
                      <a:pt x="1157" y="407"/>
                      <a:pt x="1156" y="406"/>
                    </a:cubicBezTo>
                    <a:cubicBezTo>
                      <a:pt x="1154" y="404"/>
                      <a:pt x="1152" y="404"/>
                      <a:pt x="1152" y="410"/>
                    </a:cubicBezTo>
                    <a:cubicBezTo>
                      <a:pt x="1143" y="411"/>
                      <a:pt x="1143" y="410"/>
                      <a:pt x="1133" y="410"/>
                    </a:cubicBezTo>
                    <a:cubicBezTo>
                      <a:pt x="1133" y="411"/>
                      <a:pt x="1126" y="414"/>
                      <a:pt x="1130" y="415"/>
                    </a:cubicBezTo>
                    <a:cubicBezTo>
                      <a:pt x="1131" y="419"/>
                      <a:pt x="1117" y="416"/>
                      <a:pt x="1124" y="419"/>
                    </a:cubicBezTo>
                    <a:cubicBezTo>
                      <a:pt x="1123" y="421"/>
                      <a:pt x="1120" y="421"/>
                      <a:pt x="1120" y="419"/>
                    </a:cubicBezTo>
                    <a:cubicBezTo>
                      <a:pt x="1115" y="423"/>
                      <a:pt x="1118" y="427"/>
                      <a:pt x="1118" y="434"/>
                    </a:cubicBezTo>
                    <a:cubicBezTo>
                      <a:pt x="1113" y="435"/>
                      <a:pt x="1115" y="435"/>
                      <a:pt x="1109" y="434"/>
                    </a:cubicBezTo>
                    <a:cubicBezTo>
                      <a:pt x="1111" y="436"/>
                      <a:pt x="1111" y="438"/>
                      <a:pt x="1107" y="438"/>
                    </a:cubicBezTo>
                    <a:cubicBezTo>
                      <a:pt x="1107" y="441"/>
                      <a:pt x="1109" y="457"/>
                      <a:pt x="1111" y="452"/>
                    </a:cubicBezTo>
                    <a:cubicBezTo>
                      <a:pt x="1115" y="452"/>
                      <a:pt x="1111" y="467"/>
                      <a:pt x="1117" y="467"/>
                    </a:cubicBezTo>
                    <a:cubicBezTo>
                      <a:pt x="1121" y="468"/>
                      <a:pt x="1115" y="473"/>
                      <a:pt x="1120" y="475"/>
                    </a:cubicBezTo>
                    <a:cubicBezTo>
                      <a:pt x="1119" y="475"/>
                      <a:pt x="1119" y="478"/>
                      <a:pt x="1118" y="479"/>
                    </a:cubicBezTo>
                    <a:cubicBezTo>
                      <a:pt x="1116" y="479"/>
                      <a:pt x="1114" y="477"/>
                      <a:pt x="1115" y="477"/>
                    </a:cubicBezTo>
                    <a:cubicBezTo>
                      <a:pt x="1113" y="478"/>
                      <a:pt x="1114" y="479"/>
                      <a:pt x="1113" y="480"/>
                    </a:cubicBezTo>
                    <a:cubicBezTo>
                      <a:pt x="1112" y="481"/>
                      <a:pt x="1109" y="480"/>
                      <a:pt x="1107" y="480"/>
                    </a:cubicBezTo>
                    <a:cubicBezTo>
                      <a:pt x="1103" y="482"/>
                      <a:pt x="1098" y="486"/>
                      <a:pt x="1094" y="482"/>
                    </a:cubicBezTo>
                    <a:cubicBezTo>
                      <a:pt x="1093" y="478"/>
                      <a:pt x="1096" y="477"/>
                      <a:pt x="1096" y="475"/>
                    </a:cubicBezTo>
                    <a:cubicBezTo>
                      <a:pt x="1097" y="471"/>
                      <a:pt x="1094" y="465"/>
                      <a:pt x="1098" y="464"/>
                    </a:cubicBezTo>
                    <a:cubicBezTo>
                      <a:pt x="1097" y="461"/>
                      <a:pt x="1092" y="462"/>
                      <a:pt x="1094" y="456"/>
                    </a:cubicBezTo>
                    <a:cubicBezTo>
                      <a:pt x="1090" y="454"/>
                      <a:pt x="1087" y="457"/>
                      <a:pt x="1083" y="452"/>
                    </a:cubicBezTo>
                    <a:cubicBezTo>
                      <a:pt x="1082" y="447"/>
                      <a:pt x="1089" y="450"/>
                      <a:pt x="1087" y="443"/>
                    </a:cubicBezTo>
                    <a:cubicBezTo>
                      <a:pt x="1086" y="441"/>
                      <a:pt x="1085" y="442"/>
                      <a:pt x="1085" y="443"/>
                    </a:cubicBezTo>
                    <a:cubicBezTo>
                      <a:pt x="1082" y="443"/>
                      <a:pt x="1082" y="441"/>
                      <a:pt x="1081" y="439"/>
                    </a:cubicBezTo>
                    <a:cubicBezTo>
                      <a:pt x="1080" y="438"/>
                      <a:pt x="1078" y="438"/>
                      <a:pt x="1077" y="436"/>
                    </a:cubicBezTo>
                    <a:cubicBezTo>
                      <a:pt x="1076" y="437"/>
                      <a:pt x="1074" y="438"/>
                      <a:pt x="1072" y="438"/>
                    </a:cubicBezTo>
                    <a:cubicBezTo>
                      <a:pt x="1070" y="438"/>
                      <a:pt x="1071" y="439"/>
                      <a:pt x="1072" y="439"/>
                    </a:cubicBezTo>
                    <a:cubicBezTo>
                      <a:pt x="1072" y="445"/>
                      <a:pt x="1067" y="435"/>
                      <a:pt x="1068" y="443"/>
                    </a:cubicBezTo>
                    <a:cubicBezTo>
                      <a:pt x="1063" y="439"/>
                      <a:pt x="1063" y="447"/>
                      <a:pt x="1057" y="443"/>
                    </a:cubicBezTo>
                    <a:cubicBezTo>
                      <a:pt x="1062" y="439"/>
                      <a:pt x="1057" y="436"/>
                      <a:pt x="1062" y="432"/>
                    </a:cubicBezTo>
                    <a:cubicBezTo>
                      <a:pt x="1066" y="430"/>
                      <a:pt x="1053" y="431"/>
                      <a:pt x="1053" y="434"/>
                    </a:cubicBezTo>
                    <a:cubicBezTo>
                      <a:pt x="1053" y="438"/>
                      <a:pt x="1050" y="432"/>
                      <a:pt x="1051" y="432"/>
                    </a:cubicBezTo>
                    <a:cubicBezTo>
                      <a:pt x="1048" y="433"/>
                      <a:pt x="1049" y="437"/>
                      <a:pt x="1046" y="438"/>
                    </a:cubicBezTo>
                    <a:cubicBezTo>
                      <a:pt x="1045" y="438"/>
                      <a:pt x="1041" y="440"/>
                      <a:pt x="1040" y="441"/>
                    </a:cubicBezTo>
                    <a:cubicBezTo>
                      <a:pt x="1039" y="442"/>
                      <a:pt x="1038" y="443"/>
                      <a:pt x="1038" y="445"/>
                    </a:cubicBezTo>
                    <a:cubicBezTo>
                      <a:pt x="1031" y="444"/>
                      <a:pt x="1033" y="444"/>
                      <a:pt x="1025" y="445"/>
                    </a:cubicBezTo>
                    <a:cubicBezTo>
                      <a:pt x="1027" y="445"/>
                      <a:pt x="1026" y="450"/>
                      <a:pt x="1027" y="451"/>
                    </a:cubicBezTo>
                    <a:cubicBezTo>
                      <a:pt x="1028" y="451"/>
                      <a:pt x="1031" y="450"/>
                      <a:pt x="1033" y="451"/>
                    </a:cubicBezTo>
                    <a:cubicBezTo>
                      <a:pt x="1033" y="451"/>
                      <a:pt x="1032" y="454"/>
                      <a:pt x="1033" y="454"/>
                    </a:cubicBezTo>
                    <a:cubicBezTo>
                      <a:pt x="1033" y="455"/>
                      <a:pt x="1037" y="454"/>
                      <a:pt x="1038" y="454"/>
                    </a:cubicBezTo>
                    <a:cubicBezTo>
                      <a:pt x="1039" y="455"/>
                      <a:pt x="1038" y="458"/>
                      <a:pt x="1038" y="458"/>
                    </a:cubicBezTo>
                    <a:cubicBezTo>
                      <a:pt x="1040" y="459"/>
                      <a:pt x="1043" y="458"/>
                      <a:pt x="1044" y="460"/>
                    </a:cubicBezTo>
                    <a:cubicBezTo>
                      <a:pt x="1046" y="459"/>
                      <a:pt x="1045" y="456"/>
                      <a:pt x="1048" y="456"/>
                    </a:cubicBezTo>
                    <a:cubicBezTo>
                      <a:pt x="1055" y="455"/>
                      <a:pt x="1061" y="457"/>
                      <a:pt x="1061" y="464"/>
                    </a:cubicBezTo>
                    <a:cubicBezTo>
                      <a:pt x="1058" y="466"/>
                      <a:pt x="1054" y="466"/>
                      <a:pt x="1051" y="464"/>
                    </a:cubicBezTo>
                    <a:cubicBezTo>
                      <a:pt x="1050" y="466"/>
                      <a:pt x="1049" y="469"/>
                      <a:pt x="1049" y="473"/>
                    </a:cubicBezTo>
                    <a:cubicBezTo>
                      <a:pt x="1046" y="472"/>
                      <a:pt x="1046" y="475"/>
                      <a:pt x="1048" y="475"/>
                    </a:cubicBezTo>
                    <a:cubicBezTo>
                      <a:pt x="1047" y="477"/>
                      <a:pt x="1043" y="476"/>
                      <a:pt x="1040" y="477"/>
                    </a:cubicBezTo>
                    <a:cubicBezTo>
                      <a:pt x="1043" y="483"/>
                      <a:pt x="1049" y="486"/>
                      <a:pt x="1049" y="495"/>
                    </a:cubicBezTo>
                    <a:cubicBezTo>
                      <a:pt x="1054" y="490"/>
                      <a:pt x="1051" y="494"/>
                      <a:pt x="1055" y="497"/>
                    </a:cubicBezTo>
                    <a:cubicBezTo>
                      <a:pt x="1054" y="504"/>
                      <a:pt x="1057" y="514"/>
                      <a:pt x="1053" y="518"/>
                    </a:cubicBezTo>
                    <a:cubicBezTo>
                      <a:pt x="1056" y="522"/>
                      <a:pt x="1058" y="528"/>
                      <a:pt x="1057" y="536"/>
                    </a:cubicBezTo>
                    <a:cubicBezTo>
                      <a:pt x="1051" y="532"/>
                      <a:pt x="1054" y="545"/>
                      <a:pt x="1051" y="542"/>
                    </a:cubicBezTo>
                    <a:cubicBezTo>
                      <a:pt x="1049" y="539"/>
                      <a:pt x="1051" y="542"/>
                      <a:pt x="1049" y="544"/>
                    </a:cubicBezTo>
                    <a:cubicBezTo>
                      <a:pt x="1048" y="545"/>
                      <a:pt x="1044" y="545"/>
                      <a:pt x="1046" y="551"/>
                    </a:cubicBezTo>
                    <a:cubicBezTo>
                      <a:pt x="1040" y="549"/>
                      <a:pt x="1044" y="557"/>
                      <a:pt x="1038" y="555"/>
                    </a:cubicBezTo>
                    <a:cubicBezTo>
                      <a:pt x="1043" y="559"/>
                      <a:pt x="1030" y="562"/>
                      <a:pt x="1033" y="564"/>
                    </a:cubicBezTo>
                    <a:cubicBezTo>
                      <a:pt x="1036" y="567"/>
                      <a:pt x="1032" y="565"/>
                      <a:pt x="1029" y="568"/>
                    </a:cubicBezTo>
                    <a:cubicBezTo>
                      <a:pt x="1028" y="569"/>
                      <a:pt x="1028" y="572"/>
                      <a:pt x="1027" y="574"/>
                    </a:cubicBezTo>
                    <a:cubicBezTo>
                      <a:pt x="1027" y="574"/>
                      <a:pt x="1024" y="573"/>
                      <a:pt x="1023" y="574"/>
                    </a:cubicBezTo>
                    <a:cubicBezTo>
                      <a:pt x="1023" y="574"/>
                      <a:pt x="1024" y="577"/>
                      <a:pt x="1023" y="577"/>
                    </a:cubicBezTo>
                    <a:cubicBezTo>
                      <a:pt x="1022" y="579"/>
                      <a:pt x="1016" y="576"/>
                      <a:pt x="1018" y="581"/>
                    </a:cubicBezTo>
                    <a:cubicBezTo>
                      <a:pt x="1006" y="582"/>
                      <a:pt x="1008" y="583"/>
                      <a:pt x="995" y="581"/>
                    </a:cubicBezTo>
                    <a:cubicBezTo>
                      <a:pt x="993" y="581"/>
                      <a:pt x="994" y="584"/>
                      <a:pt x="993" y="587"/>
                    </a:cubicBezTo>
                    <a:cubicBezTo>
                      <a:pt x="989" y="583"/>
                      <a:pt x="983" y="591"/>
                      <a:pt x="982" y="590"/>
                    </a:cubicBezTo>
                    <a:cubicBezTo>
                      <a:pt x="979" y="587"/>
                      <a:pt x="982" y="592"/>
                      <a:pt x="975" y="592"/>
                    </a:cubicBezTo>
                    <a:cubicBezTo>
                      <a:pt x="972" y="593"/>
                      <a:pt x="976" y="595"/>
                      <a:pt x="973" y="596"/>
                    </a:cubicBezTo>
                    <a:cubicBezTo>
                      <a:pt x="969" y="600"/>
                      <a:pt x="967" y="593"/>
                      <a:pt x="962" y="592"/>
                    </a:cubicBezTo>
                    <a:cubicBezTo>
                      <a:pt x="956" y="591"/>
                      <a:pt x="955" y="594"/>
                      <a:pt x="951" y="594"/>
                    </a:cubicBezTo>
                    <a:cubicBezTo>
                      <a:pt x="948" y="595"/>
                      <a:pt x="947" y="598"/>
                      <a:pt x="947" y="602"/>
                    </a:cubicBezTo>
                    <a:cubicBezTo>
                      <a:pt x="941" y="600"/>
                      <a:pt x="941" y="604"/>
                      <a:pt x="938" y="605"/>
                    </a:cubicBezTo>
                    <a:cubicBezTo>
                      <a:pt x="936" y="610"/>
                      <a:pt x="941" y="609"/>
                      <a:pt x="941" y="613"/>
                    </a:cubicBezTo>
                    <a:cubicBezTo>
                      <a:pt x="941" y="615"/>
                      <a:pt x="941" y="616"/>
                      <a:pt x="943" y="616"/>
                    </a:cubicBezTo>
                    <a:cubicBezTo>
                      <a:pt x="946" y="617"/>
                      <a:pt x="944" y="619"/>
                      <a:pt x="945" y="620"/>
                    </a:cubicBezTo>
                    <a:cubicBezTo>
                      <a:pt x="946" y="622"/>
                      <a:pt x="949" y="621"/>
                      <a:pt x="951" y="622"/>
                    </a:cubicBezTo>
                    <a:cubicBezTo>
                      <a:pt x="951" y="622"/>
                      <a:pt x="950" y="625"/>
                      <a:pt x="951" y="626"/>
                    </a:cubicBezTo>
                    <a:cubicBezTo>
                      <a:pt x="951" y="626"/>
                      <a:pt x="954" y="625"/>
                      <a:pt x="954" y="626"/>
                    </a:cubicBezTo>
                    <a:cubicBezTo>
                      <a:pt x="956" y="627"/>
                      <a:pt x="956" y="632"/>
                      <a:pt x="958" y="635"/>
                    </a:cubicBezTo>
                    <a:cubicBezTo>
                      <a:pt x="959" y="637"/>
                      <a:pt x="964" y="641"/>
                      <a:pt x="964" y="641"/>
                    </a:cubicBezTo>
                    <a:cubicBezTo>
                      <a:pt x="964" y="643"/>
                      <a:pt x="963" y="646"/>
                      <a:pt x="964" y="648"/>
                    </a:cubicBezTo>
                    <a:cubicBezTo>
                      <a:pt x="964" y="651"/>
                      <a:pt x="966" y="652"/>
                      <a:pt x="965" y="656"/>
                    </a:cubicBezTo>
                    <a:cubicBezTo>
                      <a:pt x="965" y="659"/>
                      <a:pt x="964" y="659"/>
                      <a:pt x="964" y="661"/>
                    </a:cubicBezTo>
                    <a:cubicBezTo>
                      <a:pt x="963" y="665"/>
                      <a:pt x="965" y="668"/>
                      <a:pt x="960" y="665"/>
                    </a:cubicBezTo>
                    <a:cubicBezTo>
                      <a:pt x="963" y="672"/>
                      <a:pt x="955" y="668"/>
                      <a:pt x="956" y="674"/>
                    </a:cubicBezTo>
                    <a:cubicBezTo>
                      <a:pt x="949" y="672"/>
                      <a:pt x="950" y="678"/>
                      <a:pt x="945" y="678"/>
                    </a:cubicBezTo>
                    <a:cubicBezTo>
                      <a:pt x="943" y="677"/>
                      <a:pt x="944" y="681"/>
                      <a:pt x="943" y="682"/>
                    </a:cubicBezTo>
                    <a:cubicBezTo>
                      <a:pt x="943" y="682"/>
                      <a:pt x="938" y="682"/>
                      <a:pt x="939" y="684"/>
                    </a:cubicBezTo>
                    <a:cubicBezTo>
                      <a:pt x="941" y="685"/>
                      <a:pt x="941" y="684"/>
                      <a:pt x="939" y="685"/>
                    </a:cubicBezTo>
                    <a:cubicBezTo>
                      <a:pt x="938" y="687"/>
                      <a:pt x="937" y="689"/>
                      <a:pt x="934" y="689"/>
                    </a:cubicBezTo>
                    <a:cubicBezTo>
                      <a:pt x="936" y="680"/>
                      <a:pt x="930" y="688"/>
                      <a:pt x="930" y="684"/>
                    </a:cubicBezTo>
                    <a:cubicBezTo>
                      <a:pt x="930" y="682"/>
                      <a:pt x="929" y="678"/>
                      <a:pt x="926" y="676"/>
                    </a:cubicBezTo>
                    <a:cubicBezTo>
                      <a:pt x="926" y="675"/>
                      <a:pt x="923" y="677"/>
                      <a:pt x="923" y="676"/>
                    </a:cubicBezTo>
                    <a:cubicBezTo>
                      <a:pt x="922" y="675"/>
                      <a:pt x="923" y="673"/>
                      <a:pt x="923" y="672"/>
                    </a:cubicBezTo>
                    <a:cubicBezTo>
                      <a:pt x="921" y="671"/>
                      <a:pt x="916" y="672"/>
                      <a:pt x="915" y="670"/>
                    </a:cubicBezTo>
                    <a:cubicBezTo>
                      <a:pt x="915" y="670"/>
                      <a:pt x="916" y="667"/>
                      <a:pt x="915" y="667"/>
                    </a:cubicBezTo>
                    <a:cubicBezTo>
                      <a:pt x="914" y="666"/>
                      <a:pt x="911" y="667"/>
                      <a:pt x="910" y="667"/>
                    </a:cubicBezTo>
                    <a:cubicBezTo>
                      <a:pt x="908" y="667"/>
                      <a:pt x="909" y="662"/>
                      <a:pt x="908" y="661"/>
                    </a:cubicBezTo>
                    <a:cubicBezTo>
                      <a:pt x="907" y="661"/>
                      <a:pt x="905" y="662"/>
                      <a:pt x="906" y="663"/>
                    </a:cubicBezTo>
                    <a:cubicBezTo>
                      <a:pt x="902" y="659"/>
                      <a:pt x="904" y="659"/>
                      <a:pt x="900" y="656"/>
                    </a:cubicBezTo>
                    <a:cubicBezTo>
                      <a:pt x="895" y="653"/>
                      <a:pt x="896" y="662"/>
                      <a:pt x="895" y="665"/>
                    </a:cubicBezTo>
                    <a:cubicBezTo>
                      <a:pt x="894" y="666"/>
                      <a:pt x="891" y="666"/>
                      <a:pt x="891" y="667"/>
                    </a:cubicBezTo>
                    <a:cubicBezTo>
                      <a:pt x="890" y="670"/>
                      <a:pt x="892" y="675"/>
                      <a:pt x="889" y="678"/>
                    </a:cubicBezTo>
                    <a:cubicBezTo>
                      <a:pt x="890" y="679"/>
                      <a:pt x="891" y="681"/>
                      <a:pt x="891" y="684"/>
                    </a:cubicBezTo>
                    <a:cubicBezTo>
                      <a:pt x="892" y="686"/>
                      <a:pt x="894" y="688"/>
                      <a:pt x="895" y="685"/>
                    </a:cubicBezTo>
                    <a:cubicBezTo>
                      <a:pt x="899" y="690"/>
                      <a:pt x="897" y="692"/>
                      <a:pt x="897" y="698"/>
                    </a:cubicBezTo>
                    <a:cubicBezTo>
                      <a:pt x="897" y="700"/>
                      <a:pt x="898" y="700"/>
                      <a:pt x="898" y="702"/>
                    </a:cubicBezTo>
                    <a:cubicBezTo>
                      <a:pt x="900" y="703"/>
                      <a:pt x="901" y="705"/>
                      <a:pt x="902" y="706"/>
                    </a:cubicBezTo>
                    <a:cubicBezTo>
                      <a:pt x="905" y="708"/>
                      <a:pt x="908" y="709"/>
                      <a:pt x="911" y="711"/>
                    </a:cubicBezTo>
                    <a:cubicBezTo>
                      <a:pt x="913" y="712"/>
                      <a:pt x="911" y="713"/>
                      <a:pt x="913" y="713"/>
                    </a:cubicBezTo>
                    <a:cubicBezTo>
                      <a:pt x="915" y="713"/>
                      <a:pt x="915" y="716"/>
                      <a:pt x="915" y="717"/>
                    </a:cubicBezTo>
                    <a:cubicBezTo>
                      <a:pt x="916" y="719"/>
                      <a:pt x="918" y="717"/>
                      <a:pt x="919" y="719"/>
                    </a:cubicBezTo>
                    <a:cubicBezTo>
                      <a:pt x="920" y="721"/>
                      <a:pt x="918" y="724"/>
                      <a:pt x="919" y="726"/>
                    </a:cubicBezTo>
                    <a:cubicBezTo>
                      <a:pt x="919" y="727"/>
                      <a:pt x="923" y="730"/>
                      <a:pt x="923" y="730"/>
                    </a:cubicBezTo>
                    <a:cubicBezTo>
                      <a:pt x="923" y="732"/>
                      <a:pt x="918" y="737"/>
                      <a:pt x="925" y="738"/>
                    </a:cubicBezTo>
                    <a:cubicBezTo>
                      <a:pt x="924" y="742"/>
                      <a:pt x="920" y="740"/>
                      <a:pt x="917" y="739"/>
                    </a:cubicBezTo>
                    <a:cubicBezTo>
                      <a:pt x="914" y="739"/>
                      <a:pt x="909" y="739"/>
                      <a:pt x="908" y="738"/>
                    </a:cubicBezTo>
                    <a:cubicBezTo>
                      <a:pt x="908" y="738"/>
                      <a:pt x="910" y="729"/>
                      <a:pt x="906" y="736"/>
                    </a:cubicBezTo>
                    <a:cubicBezTo>
                      <a:pt x="902" y="734"/>
                      <a:pt x="904" y="729"/>
                      <a:pt x="902" y="726"/>
                    </a:cubicBezTo>
                    <a:cubicBezTo>
                      <a:pt x="901" y="724"/>
                      <a:pt x="899" y="724"/>
                      <a:pt x="897" y="721"/>
                    </a:cubicBezTo>
                    <a:cubicBezTo>
                      <a:pt x="896" y="718"/>
                      <a:pt x="896" y="716"/>
                      <a:pt x="898" y="715"/>
                    </a:cubicBezTo>
                    <a:cubicBezTo>
                      <a:pt x="895" y="712"/>
                      <a:pt x="894" y="706"/>
                      <a:pt x="889" y="704"/>
                    </a:cubicBezTo>
                    <a:cubicBezTo>
                      <a:pt x="889" y="701"/>
                      <a:pt x="886" y="699"/>
                      <a:pt x="889" y="698"/>
                    </a:cubicBezTo>
                    <a:cubicBezTo>
                      <a:pt x="888" y="697"/>
                      <a:pt x="886" y="696"/>
                      <a:pt x="883" y="695"/>
                    </a:cubicBezTo>
                    <a:cubicBezTo>
                      <a:pt x="884" y="692"/>
                      <a:pt x="884" y="689"/>
                      <a:pt x="882" y="689"/>
                    </a:cubicBezTo>
                    <a:cubicBezTo>
                      <a:pt x="881" y="685"/>
                      <a:pt x="883" y="684"/>
                      <a:pt x="883" y="682"/>
                    </a:cubicBezTo>
                    <a:cubicBezTo>
                      <a:pt x="884" y="678"/>
                      <a:pt x="882" y="677"/>
                      <a:pt x="880" y="676"/>
                    </a:cubicBezTo>
                    <a:cubicBezTo>
                      <a:pt x="881" y="674"/>
                      <a:pt x="882" y="673"/>
                      <a:pt x="880" y="672"/>
                    </a:cubicBezTo>
                    <a:cubicBezTo>
                      <a:pt x="880" y="670"/>
                      <a:pt x="884" y="671"/>
                      <a:pt x="887" y="670"/>
                    </a:cubicBezTo>
                    <a:cubicBezTo>
                      <a:pt x="887" y="669"/>
                      <a:pt x="885" y="669"/>
                      <a:pt x="885" y="667"/>
                    </a:cubicBezTo>
                    <a:cubicBezTo>
                      <a:pt x="885" y="665"/>
                      <a:pt x="888" y="665"/>
                      <a:pt x="887" y="663"/>
                    </a:cubicBezTo>
                    <a:cubicBezTo>
                      <a:pt x="887" y="660"/>
                      <a:pt x="884" y="657"/>
                      <a:pt x="883" y="654"/>
                    </a:cubicBezTo>
                    <a:cubicBezTo>
                      <a:pt x="883" y="650"/>
                      <a:pt x="884" y="645"/>
                      <a:pt x="883" y="643"/>
                    </a:cubicBezTo>
                    <a:cubicBezTo>
                      <a:pt x="883" y="640"/>
                      <a:pt x="881" y="640"/>
                      <a:pt x="880" y="639"/>
                    </a:cubicBezTo>
                    <a:cubicBezTo>
                      <a:pt x="879" y="637"/>
                      <a:pt x="879" y="635"/>
                      <a:pt x="878" y="633"/>
                    </a:cubicBezTo>
                    <a:cubicBezTo>
                      <a:pt x="876" y="630"/>
                      <a:pt x="875" y="627"/>
                      <a:pt x="872" y="626"/>
                    </a:cubicBezTo>
                    <a:cubicBezTo>
                      <a:pt x="866" y="625"/>
                      <a:pt x="870" y="632"/>
                      <a:pt x="865" y="628"/>
                    </a:cubicBezTo>
                    <a:cubicBezTo>
                      <a:pt x="862" y="628"/>
                      <a:pt x="864" y="632"/>
                      <a:pt x="863" y="633"/>
                    </a:cubicBezTo>
                    <a:cubicBezTo>
                      <a:pt x="863" y="634"/>
                      <a:pt x="860" y="633"/>
                      <a:pt x="859" y="633"/>
                    </a:cubicBezTo>
                    <a:cubicBezTo>
                      <a:pt x="858" y="634"/>
                      <a:pt x="860" y="637"/>
                      <a:pt x="857" y="637"/>
                    </a:cubicBezTo>
                    <a:cubicBezTo>
                      <a:pt x="853" y="637"/>
                      <a:pt x="853" y="636"/>
                      <a:pt x="852" y="631"/>
                    </a:cubicBezTo>
                    <a:cubicBezTo>
                      <a:pt x="851" y="630"/>
                      <a:pt x="850" y="630"/>
                      <a:pt x="850" y="629"/>
                    </a:cubicBezTo>
                    <a:cubicBezTo>
                      <a:pt x="849" y="627"/>
                      <a:pt x="852" y="627"/>
                      <a:pt x="852" y="626"/>
                    </a:cubicBezTo>
                    <a:cubicBezTo>
                      <a:pt x="852" y="624"/>
                      <a:pt x="847" y="616"/>
                      <a:pt x="852" y="613"/>
                    </a:cubicBezTo>
                    <a:cubicBezTo>
                      <a:pt x="850" y="611"/>
                      <a:pt x="847" y="609"/>
                      <a:pt x="848" y="602"/>
                    </a:cubicBezTo>
                    <a:cubicBezTo>
                      <a:pt x="846" y="602"/>
                      <a:pt x="847" y="604"/>
                      <a:pt x="846" y="605"/>
                    </a:cubicBezTo>
                    <a:cubicBezTo>
                      <a:pt x="843" y="604"/>
                      <a:pt x="845" y="597"/>
                      <a:pt x="843" y="594"/>
                    </a:cubicBezTo>
                    <a:cubicBezTo>
                      <a:pt x="841" y="593"/>
                      <a:pt x="840" y="592"/>
                      <a:pt x="839" y="590"/>
                    </a:cubicBezTo>
                    <a:cubicBezTo>
                      <a:pt x="838" y="589"/>
                      <a:pt x="838" y="587"/>
                      <a:pt x="837" y="587"/>
                    </a:cubicBezTo>
                    <a:cubicBezTo>
                      <a:pt x="835" y="585"/>
                      <a:pt x="830" y="585"/>
                      <a:pt x="831" y="581"/>
                    </a:cubicBezTo>
                    <a:cubicBezTo>
                      <a:pt x="825" y="580"/>
                      <a:pt x="823" y="584"/>
                      <a:pt x="820" y="587"/>
                    </a:cubicBezTo>
                    <a:cubicBezTo>
                      <a:pt x="817" y="586"/>
                      <a:pt x="815" y="586"/>
                      <a:pt x="815" y="588"/>
                    </a:cubicBezTo>
                    <a:cubicBezTo>
                      <a:pt x="810" y="588"/>
                      <a:pt x="806" y="588"/>
                      <a:pt x="801" y="588"/>
                    </a:cubicBezTo>
                    <a:cubicBezTo>
                      <a:pt x="801" y="590"/>
                      <a:pt x="799" y="591"/>
                      <a:pt x="798" y="592"/>
                    </a:cubicBezTo>
                    <a:cubicBezTo>
                      <a:pt x="797" y="593"/>
                      <a:pt x="796" y="592"/>
                      <a:pt x="796" y="594"/>
                    </a:cubicBezTo>
                    <a:cubicBezTo>
                      <a:pt x="796" y="596"/>
                      <a:pt x="791" y="597"/>
                      <a:pt x="790" y="598"/>
                    </a:cubicBezTo>
                    <a:cubicBezTo>
                      <a:pt x="786" y="601"/>
                      <a:pt x="783" y="608"/>
                      <a:pt x="775" y="611"/>
                    </a:cubicBezTo>
                    <a:cubicBezTo>
                      <a:pt x="771" y="614"/>
                      <a:pt x="770" y="621"/>
                      <a:pt x="762" y="622"/>
                    </a:cubicBezTo>
                    <a:cubicBezTo>
                      <a:pt x="765" y="625"/>
                      <a:pt x="764" y="626"/>
                      <a:pt x="759" y="626"/>
                    </a:cubicBezTo>
                    <a:cubicBezTo>
                      <a:pt x="758" y="628"/>
                      <a:pt x="759" y="629"/>
                      <a:pt x="760" y="629"/>
                    </a:cubicBezTo>
                    <a:cubicBezTo>
                      <a:pt x="760" y="632"/>
                      <a:pt x="757" y="631"/>
                      <a:pt x="757" y="629"/>
                    </a:cubicBezTo>
                    <a:cubicBezTo>
                      <a:pt x="754" y="630"/>
                      <a:pt x="755" y="635"/>
                      <a:pt x="749" y="633"/>
                    </a:cubicBezTo>
                    <a:cubicBezTo>
                      <a:pt x="747" y="634"/>
                      <a:pt x="747" y="637"/>
                      <a:pt x="744" y="637"/>
                    </a:cubicBezTo>
                    <a:cubicBezTo>
                      <a:pt x="743" y="640"/>
                      <a:pt x="746" y="640"/>
                      <a:pt x="746" y="643"/>
                    </a:cubicBezTo>
                    <a:cubicBezTo>
                      <a:pt x="745" y="646"/>
                      <a:pt x="743" y="651"/>
                      <a:pt x="742" y="657"/>
                    </a:cubicBezTo>
                    <a:cubicBezTo>
                      <a:pt x="741" y="666"/>
                      <a:pt x="742" y="675"/>
                      <a:pt x="740" y="678"/>
                    </a:cubicBezTo>
                    <a:cubicBezTo>
                      <a:pt x="740" y="678"/>
                      <a:pt x="737" y="677"/>
                      <a:pt x="736" y="678"/>
                    </a:cubicBezTo>
                    <a:cubicBezTo>
                      <a:pt x="735" y="679"/>
                      <a:pt x="736" y="684"/>
                      <a:pt x="734" y="685"/>
                    </a:cubicBezTo>
                    <a:cubicBezTo>
                      <a:pt x="733" y="687"/>
                      <a:pt x="729" y="686"/>
                      <a:pt x="727" y="687"/>
                    </a:cubicBezTo>
                    <a:cubicBezTo>
                      <a:pt x="725" y="688"/>
                      <a:pt x="725" y="692"/>
                      <a:pt x="721" y="691"/>
                    </a:cubicBezTo>
                    <a:cubicBezTo>
                      <a:pt x="717" y="686"/>
                      <a:pt x="714" y="680"/>
                      <a:pt x="712" y="672"/>
                    </a:cubicBezTo>
                    <a:cubicBezTo>
                      <a:pt x="711" y="672"/>
                      <a:pt x="710" y="670"/>
                      <a:pt x="708" y="669"/>
                    </a:cubicBezTo>
                    <a:cubicBezTo>
                      <a:pt x="707" y="668"/>
                      <a:pt x="707" y="666"/>
                      <a:pt x="705" y="667"/>
                    </a:cubicBezTo>
                    <a:cubicBezTo>
                      <a:pt x="703" y="661"/>
                      <a:pt x="707" y="661"/>
                      <a:pt x="708" y="657"/>
                    </a:cubicBezTo>
                    <a:cubicBezTo>
                      <a:pt x="708" y="654"/>
                      <a:pt x="705" y="652"/>
                      <a:pt x="703" y="650"/>
                    </a:cubicBezTo>
                    <a:cubicBezTo>
                      <a:pt x="701" y="648"/>
                      <a:pt x="700" y="645"/>
                      <a:pt x="697" y="644"/>
                    </a:cubicBezTo>
                    <a:cubicBezTo>
                      <a:pt x="696" y="641"/>
                      <a:pt x="696" y="637"/>
                      <a:pt x="693" y="633"/>
                    </a:cubicBezTo>
                    <a:cubicBezTo>
                      <a:pt x="691" y="630"/>
                      <a:pt x="691" y="617"/>
                      <a:pt x="690" y="607"/>
                    </a:cubicBezTo>
                    <a:cubicBezTo>
                      <a:pt x="689" y="603"/>
                      <a:pt x="688" y="592"/>
                      <a:pt x="686" y="585"/>
                    </a:cubicBezTo>
                    <a:cubicBezTo>
                      <a:pt x="683" y="585"/>
                      <a:pt x="678" y="593"/>
                      <a:pt x="682" y="594"/>
                    </a:cubicBezTo>
                    <a:cubicBezTo>
                      <a:pt x="682" y="599"/>
                      <a:pt x="675" y="595"/>
                      <a:pt x="673" y="594"/>
                    </a:cubicBezTo>
                    <a:cubicBezTo>
                      <a:pt x="672" y="594"/>
                      <a:pt x="670" y="595"/>
                      <a:pt x="669" y="594"/>
                    </a:cubicBezTo>
                    <a:cubicBezTo>
                      <a:pt x="667" y="593"/>
                      <a:pt x="665" y="586"/>
                      <a:pt x="662" y="588"/>
                    </a:cubicBezTo>
                    <a:cubicBezTo>
                      <a:pt x="661" y="585"/>
                      <a:pt x="663" y="585"/>
                      <a:pt x="665" y="585"/>
                    </a:cubicBezTo>
                    <a:cubicBezTo>
                      <a:pt x="663" y="582"/>
                      <a:pt x="665" y="582"/>
                      <a:pt x="665" y="579"/>
                    </a:cubicBezTo>
                    <a:cubicBezTo>
                      <a:pt x="665" y="576"/>
                      <a:pt x="660" y="578"/>
                      <a:pt x="658" y="577"/>
                    </a:cubicBezTo>
                    <a:cubicBezTo>
                      <a:pt x="656" y="576"/>
                      <a:pt x="653" y="568"/>
                      <a:pt x="652" y="574"/>
                    </a:cubicBezTo>
                    <a:cubicBezTo>
                      <a:pt x="648" y="573"/>
                      <a:pt x="650" y="567"/>
                      <a:pt x="651" y="568"/>
                    </a:cubicBezTo>
                    <a:cubicBezTo>
                      <a:pt x="650" y="566"/>
                      <a:pt x="646" y="566"/>
                      <a:pt x="647" y="562"/>
                    </a:cubicBezTo>
                    <a:cubicBezTo>
                      <a:pt x="645" y="561"/>
                      <a:pt x="640" y="564"/>
                      <a:pt x="639" y="562"/>
                    </a:cubicBezTo>
                    <a:cubicBezTo>
                      <a:pt x="639" y="562"/>
                      <a:pt x="640" y="559"/>
                      <a:pt x="639" y="559"/>
                    </a:cubicBezTo>
                    <a:cubicBezTo>
                      <a:pt x="635" y="558"/>
                      <a:pt x="632" y="560"/>
                      <a:pt x="628" y="560"/>
                    </a:cubicBezTo>
                    <a:cubicBezTo>
                      <a:pt x="627" y="561"/>
                      <a:pt x="625" y="561"/>
                      <a:pt x="624" y="560"/>
                    </a:cubicBezTo>
                    <a:cubicBezTo>
                      <a:pt x="622" y="560"/>
                      <a:pt x="621" y="558"/>
                      <a:pt x="621" y="562"/>
                    </a:cubicBezTo>
                    <a:cubicBezTo>
                      <a:pt x="603" y="564"/>
                      <a:pt x="589" y="561"/>
                      <a:pt x="576" y="559"/>
                    </a:cubicBezTo>
                    <a:cubicBezTo>
                      <a:pt x="577" y="555"/>
                      <a:pt x="572" y="556"/>
                      <a:pt x="572" y="553"/>
                    </a:cubicBezTo>
                    <a:cubicBezTo>
                      <a:pt x="572" y="549"/>
                      <a:pt x="564" y="557"/>
                      <a:pt x="569" y="549"/>
                    </a:cubicBezTo>
                    <a:cubicBezTo>
                      <a:pt x="566" y="550"/>
                      <a:pt x="565" y="549"/>
                      <a:pt x="565" y="547"/>
                    </a:cubicBezTo>
                    <a:cubicBezTo>
                      <a:pt x="560" y="550"/>
                      <a:pt x="546" y="547"/>
                      <a:pt x="541" y="546"/>
                    </a:cubicBezTo>
                    <a:cubicBezTo>
                      <a:pt x="538" y="545"/>
                      <a:pt x="537" y="545"/>
                      <a:pt x="537" y="542"/>
                    </a:cubicBezTo>
                    <a:cubicBezTo>
                      <a:pt x="529" y="544"/>
                      <a:pt x="531" y="536"/>
                      <a:pt x="524" y="536"/>
                    </a:cubicBezTo>
                    <a:cubicBezTo>
                      <a:pt x="523" y="529"/>
                      <a:pt x="519" y="525"/>
                      <a:pt x="516" y="520"/>
                    </a:cubicBezTo>
                    <a:cubicBezTo>
                      <a:pt x="500" y="517"/>
                      <a:pt x="500" y="525"/>
                      <a:pt x="501" y="534"/>
                    </a:cubicBezTo>
                    <a:cubicBezTo>
                      <a:pt x="502" y="537"/>
                      <a:pt x="509" y="541"/>
                      <a:pt x="514" y="547"/>
                    </a:cubicBezTo>
                    <a:cubicBezTo>
                      <a:pt x="516" y="549"/>
                      <a:pt x="519" y="559"/>
                      <a:pt x="524" y="557"/>
                    </a:cubicBezTo>
                    <a:cubicBezTo>
                      <a:pt x="523" y="561"/>
                      <a:pt x="527" y="561"/>
                      <a:pt x="526" y="566"/>
                    </a:cubicBezTo>
                    <a:cubicBezTo>
                      <a:pt x="530" y="566"/>
                      <a:pt x="540" y="564"/>
                      <a:pt x="535" y="570"/>
                    </a:cubicBezTo>
                    <a:cubicBezTo>
                      <a:pt x="539" y="572"/>
                      <a:pt x="537" y="567"/>
                      <a:pt x="539" y="566"/>
                    </a:cubicBezTo>
                    <a:cubicBezTo>
                      <a:pt x="540" y="565"/>
                      <a:pt x="546" y="566"/>
                      <a:pt x="546" y="562"/>
                    </a:cubicBezTo>
                    <a:cubicBezTo>
                      <a:pt x="546" y="561"/>
                      <a:pt x="548" y="561"/>
                      <a:pt x="550" y="560"/>
                    </a:cubicBezTo>
                    <a:cubicBezTo>
                      <a:pt x="552" y="560"/>
                      <a:pt x="550" y="558"/>
                      <a:pt x="552" y="557"/>
                    </a:cubicBezTo>
                    <a:cubicBezTo>
                      <a:pt x="555" y="555"/>
                      <a:pt x="559" y="556"/>
                      <a:pt x="563" y="555"/>
                    </a:cubicBezTo>
                    <a:cubicBezTo>
                      <a:pt x="563" y="556"/>
                      <a:pt x="560" y="558"/>
                      <a:pt x="561" y="559"/>
                    </a:cubicBezTo>
                    <a:cubicBezTo>
                      <a:pt x="561" y="559"/>
                      <a:pt x="565" y="558"/>
                      <a:pt x="565" y="559"/>
                    </a:cubicBezTo>
                    <a:cubicBezTo>
                      <a:pt x="566" y="562"/>
                      <a:pt x="564" y="564"/>
                      <a:pt x="567" y="566"/>
                    </a:cubicBezTo>
                    <a:cubicBezTo>
                      <a:pt x="566" y="570"/>
                      <a:pt x="572" y="568"/>
                      <a:pt x="572" y="572"/>
                    </a:cubicBezTo>
                    <a:cubicBezTo>
                      <a:pt x="572" y="576"/>
                      <a:pt x="576" y="573"/>
                      <a:pt x="580" y="575"/>
                    </a:cubicBezTo>
                    <a:cubicBezTo>
                      <a:pt x="582" y="577"/>
                      <a:pt x="581" y="580"/>
                      <a:pt x="585" y="581"/>
                    </a:cubicBezTo>
                    <a:cubicBezTo>
                      <a:pt x="581" y="585"/>
                      <a:pt x="586" y="590"/>
                      <a:pt x="585" y="596"/>
                    </a:cubicBezTo>
                    <a:cubicBezTo>
                      <a:pt x="583" y="596"/>
                      <a:pt x="582" y="596"/>
                      <a:pt x="580" y="596"/>
                    </a:cubicBezTo>
                    <a:cubicBezTo>
                      <a:pt x="582" y="603"/>
                      <a:pt x="575" y="601"/>
                      <a:pt x="576" y="607"/>
                    </a:cubicBezTo>
                    <a:cubicBezTo>
                      <a:pt x="572" y="606"/>
                      <a:pt x="570" y="607"/>
                      <a:pt x="570" y="611"/>
                    </a:cubicBezTo>
                    <a:cubicBezTo>
                      <a:pt x="568" y="611"/>
                      <a:pt x="565" y="611"/>
                      <a:pt x="563" y="611"/>
                    </a:cubicBezTo>
                    <a:cubicBezTo>
                      <a:pt x="560" y="611"/>
                      <a:pt x="562" y="615"/>
                      <a:pt x="561" y="616"/>
                    </a:cubicBezTo>
                    <a:cubicBezTo>
                      <a:pt x="561" y="617"/>
                      <a:pt x="558" y="616"/>
                      <a:pt x="557" y="616"/>
                    </a:cubicBezTo>
                    <a:cubicBezTo>
                      <a:pt x="556" y="617"/>
                      <a:pt x="558" y="621"/>
                      <a:pt x="557" y="622"/>
                    </a:cubicBezTo>
                    <a:cubicBezTo>
                      <a:pt x="554" y="621"/>
                      <a:pt x="552" y="622"/>
                      <a:pt x="552" y="626"/>
                    </a:cubicBezTo>
                    <a:cubicBezTo>
                      <a:pt x="548" y="625"/>
                      <a:pt x="546" y="626"/>
                      <a:pt x="544" y="628"/>
                    </a:cubicBezTo>
                    <a:cubicBezTo>
                      <a:pt x="541" y="629"/>
                      <a:pt x="542" y="630"/>
                      <a:pt x="537" y="631"/>
                    </a:cubicBezTo>
                    <a:cubicBezTo>
                      <a:pt x="535" y="632"/>
                      <a:pt x="526" y="635"/>
                      <a:pt x="526" y="641"/>
                    </a:cubicBezTo>
                    <a:cubicBezTo>
                      <a:pt x="523" y="641"/>
                      <a:pt x="520" y="640"/>
                      <a:pt x="518" y="641"/>
                    </a:cubicBezTo>
                    <a:cubicBezTo>
                      <a:pt x="516" y="642"/>
                      <a:pt x="518" y="643"/>
                      <a:pt x="516" y="644"/>
                    </a:cubicBezTo>
                    <a:cubicBezTo>
                      <a:pt x="516" y="645"/>
                      <a:pt x="513" y="644"/>
                      <a:pt x="513" y="644"/>
                    </a:cubicBezTo>
                    <a:cubicBezTo>
                      <a:pt x="513" y="644"/>
                      <a:pt x="507" y="646"/>
                      <a:pt x="507" y="646"/>
                    </a:cubicBezTo>
                    <a:cubicBezTo>
                      <a:pt x="504" y="650"/>
                      <a:pt x="489" y="648"/>
                      <a:pt x="483" y="652"/>
                    </a:cubicBezTo>
                    <a:cubicBezTo>
                      <a:pt x="477" y="653"/>
                      <a:pt x="488" y="655"/>
                      <a:pt x="479" y="656"/>
                    </a:cubicBezTo>
                    <a:cubicBezTo>
                      <a:pt x="478" y="656"/>
                      <a:pt x="476" y="655"/>
                      <a:pt x="475" y="656"/>
                    </a:cubicBezTo>
                    <a:cubicBezTo>
                      <a:pt x="473" y="656"/>
                      <a:pt x="474" y="660"/>
                      <a:pt x="470" y="659"/>
                    </a:cubicBezTo>
                    <a:cubicBezTo>
                      <a:pt x="472" y="655"/>
                      <a:pt x="467" y="657"/>
                      <a:pt x="466" y="656"/>
                    </a:cubicBezTo>
                    <a:cubicBezTo>
                      <a:pt x="465" y="653"/>
                      <a:pt x="467" y="648"/>
                      <a:pt x="462" y="648"/>
                    </a:cubicBezTo>
                    <a:cubicBezTo>
                      <a:pt x="462" y="645"/>
                      <a:pt x="464" y="645"/>
                      <a:pt x="464" y="643"/>
                    </a:cubicBezTo>
                    <a:cubicBezTo>
                      <a:pt x="463" y="641"/>
                      <a:pt x="459" y="640"/>
                      <a:pt x="462" y="639"/>
                    </a:cubicBezTo>
                    <a:cubicBezTo>
                      <a:pt x="461" y="637"/>
                      <a:pt x="460" y="635"/>
                      <a:pt x="457" y="635"/>
                    </a:cubicBezTo>
                    <a:cubicBezTo>
                      <a:pt x="459" y="630"/>
                      <a:pt x="453" y="624"/>
                      <a:pt x="457" y="624"/>
                    </a:cubicBezTo>
                    <a:cubicBezTo>
                      <a:pt x="457" y="622"/>
                      <a:pt x="454" y="623"/>
                      <a:pt x="453" y="622"/>
                    </a:cubicBezTo>
                    <a:cubicBezTo>
                      <a:pt x="451" y="620"/>
                      <a:pt x="452" y="615"/>
                      <a:pt x="453" y="616"/>
                    </a:cubicBezTo>
                    <a:cubicBezTo>
                      <a:pt x="452" y="615"/>
                      <a:pt x="450" y="613"/>
                      <a:pt x="449" y="613"/>
                    </a:cubicBezTo>
                    <a:cubicBezTo>
                      <a:pt x="448" y="612"/>
                      <a:pt x="449" y="611"/>
                      <a:pt x="447" y="611"/>
                    </a:cubicBezTo>
                    <a:cubicBezTo>
                      <a:pt x="446" y="611"/>
                      <a:pt x="444" y="604"/>
                      <a:pt x="444" y="605"/>
                    </a:cubicBezTo>
                    <a:cubicBezTo>
                      <a:pt x="444" y="605"/>
                      <a:pt x="444" y="607"/>
                      <a:pt x="444" y="607"/>
                    </a:cubicBezTo>
                    <a:cubicBezTo>
                      <a:pt x="440" y="604"/>
                      <a:pt x="440" y="598"/>
                      <a:pt x="434" y="598"/>
                    </a:cubicBezTo>
                    <a:cubicBezTo>
                      <a:pt x="439" y="590"/>
                      <a:pt x="430" y="588"/>
                      <a:pt x="431" y="579"/>
                    </a:cubicBezTo>
                    <a:cubicBezTo>
                      <a:pt x="430" y="577"/>
                      <a:pt x="427" y="578"/>
                      <a:pt x="427" y="575"/>
                    </a:cubicBezTo>
                    <a:cubicBezTo>
                      <a:pt x="427" y="572"/>
                      <a:pt x="421" y="574"/>
                      <a:pt x="419" y="572"/>
                    </a:cubicBezTo>
                    <a:cubicBezTo>
                      <a:pt x="421" y="569"/>
                      <a:pt x="421" y="568"/>
                      <a:pt x="418" y="568"/>
                    </a:cubicBezTo>
                    <a:cubicBezTo>
                      <a:pt x="420" y="565"/>
                      <a:pt x="419" y="564"/>
                      <a:pt x="418" y="559"/>
                    </a:cubicBezTo>
                    <a:cubicBezTo>
                      <a:pt x="417" y="558"/>
                      <a:pt x="418" y="555"/>
                      <a:pt x="418" y="555"/>
                    </a:cubicBezTo>
                    <a:cubicBezTo>
                      <a:pt x="417" y="555"/>
                      <a:pt x="416" y="555"/>
                      <a:pt x="416" y="555"/>
                    </a:cubicBezTo>
                    <a:cubicBezTo>
                      <a:pt x="415" y="550"/>
                      <a:pt x="419" y="552"/>
                      <a:pt x="416" y="547"/>
                    </a:cubicBezTo>
                    <a:cubicBezTo>
                      <a:pt x="414" y="545"/>
                      <a:pt x="412" y="557"/>
                      <a:pt x="412" y="547"/>
                    </a:cubicBezTo>
                    <a:cubicBezTo>
                      <a:pt x="412" y="540"/>
                      <a:pt x="406" y="536"/>
                      <a:pt x="399" y="529"/>
                    </a:cubicBezTo>
                    <a:cubicBezTo>
                      <a:pt x="394" y="533"/>
                      <a:pt x="398" y="534"/>
                      <a:pt x="395" y="540"/>
                    </a:cubicBezTo>
                    <a:cubicBezTo>
                      <a:pt x="391" y="541"/>
                      <a:pt x="392" y="536"/>
                      <a:pt x="390" y="536"/>
                    </a:cubicBezTo>
                    <a:cubicBezTo>
                      <a:pt x="387" y="537"/>
                      <a:pt x="386" y="535"/>
                      <a:pt x="384" y="534"/>
                    </a:cubicBezTo>
                    <a:cubicBezTo>
                      <a:pt x="388" y="537"/>
                      <a:pt x="385" y="546"/>
                      <a:pt x="391" y="546"/>
                    </a:cubicBezTo>
                    <a:cubicBezTo>
                      <a:pt x="389" y="550"/>
                      <a:pt x="392" y="555"/>
                      <a:pt x="395" y="562"/>
                    </a:cubicBezTo>
                    <a:cubicBezTo>
                      <a:pt x="395" y="563"/>
                      <a:pt x="395" y="566"/>
                      <a:pt x="395" y="566"/>
                    </a:cubicBezTo>
                    <a:cubicBezTo>
                      <a:pt x="398" y="568"/>
                      <a:pt x="399" y="577"/>
                      <a:pt x="401" y="581"/>
                    </a:cubicBezTo>
                    <a:cubicBezTo>
                      <a:pt x="403" y="581"/>
                      <a:pt x="406" y="581"/>
                      <a:pt x="408" y="581"/>
                    </a:cubicBezTo>
                    <a:cubicBezTo>
                      <a:pt x="407" y="583"/>
                      <a:pt x="406" y="584"/>
                      <a:pt x="406" y="587"/>
                    </a:cubicBezTo>
                    <a:cubicBezTo>
                      <a:pt x="409" y="587"/>
                      <a:pt x="410" y="586"/>
                      <a:pt x="410" y="585"/>
                    </a:cubicBezTo>
                    <a:cubicBezTo>
                      <a:pt x="414" y="587"/>
                      <a:pt x="412" y="590"/>
                      <a:pt x="414" y="594"/>
                    </a:cubicBezTo>
                    <a:cubicBezTo>
                      <a:pt x="414" y="595"/>
                      <a:pt x="417" y="595"/>
                      <a:pt x="418" y="596"/>
                    </a:cubicBezTo>
                    <a:cubicBezTo>
                      <a:pt x="418" y="597"/>
                      <a:pt x="417" y="599"/>
                      <a:pt x="418" y="600"/>
                    </a:cubicBezTo>
                    <a:cubicBezTo>
                      <a:pt x="418" y="600"/>
                      <a:pt x="419" y="599"/>
                      <a:pt x="419" y="600"/>
                    </a:cubicBezTo>
                    <a:cubicBezTo>
                      <a:pt x="420" y="602"/>
                      <a:pt x="418" y="603"/>
                      <a:pt x="418" y="603"/>
                    </a:cubicBezTo>
                    <a:cubicBezTo>
                      <a:pt x="418" y="606"/>
                      <a:pt x="420" y="606"/>
                      <a:pt x="421" y="607"/>
                    </a:cubicBezTo>
                    <a:cubicBezTo>
                      <a:pt x="422" y="608"/>
                      <a:pt x="421" y="610"/>
                      <a:pt x="421" y="611"/>
                    </a:cubicBezTo>
                    <a:cubicBezTo>
                      <a:pt x="421" y="611"/>
                      <a:pt x="423" y="611"/>
                      <a:pt x="423" y="611"/>
                    </a:cubicBezTo>
                    <a:cubicBezTo>
                      <a:pt x="424" y="613"/>
                      <a:pt x="421" y="620"/>
                      <a:pt x="427" y="618"/>
                    </a:cubicBezTo>
                    <a:cubicBezTo>
                      <a:pt x="427" y="622"/>
                      <a:pt x="427" y="626"/>
                      <a:pt x="429" y="629"/>
                    </a:cubicBezTo>
                    <a:cubicBezTo>
                      <a:pt x="429" y="631"/>
                      <a:pt x="432" y="632"/>
                      <a:pt x="432" y="633"/>
                    </a:cubicBezTo>
                    <a:cubicBezTo>
                      <a:pt x="433" y="635"/>
                      <a:pt x="433" y="637"/>
                      <a:pt x="434" y="639"/>
                    </a:cubicBezTo>
                    <a:cubicBezTo>
                      <a:pt x="435" y="640"/>
                      <a:pt x="437" y="640"/>
                      <a:pt x="438" y="641"/>
                    </a:cubicBezTo>
                    <a:cubicBezTo>
                      <a:pt x="440" y="643"/>
                      <a:pt x="436" y="646"/>
                      <a:pt x="440" y="646"/>
                    </a:cubicBezTo>
                    <a:cubicBezTo>
                      <a:pt x="442" y="646"/>
                      <a:pt x="441" y="651"/>
                      <a:pt x="442" y="654"/>
                    </a:cubicBezTo>
                    <a:cubicBezTo>
                      <a:pt x="449" y="650"/>
                      <a:pt x="447" y="657"/>
                      <a:pt x="457" y="656"/>
                    </a:cubicBezTo>
                    <a:cubicBezTo>
                      <a:pt x="457" y="661"/>
                      <a:pt x="460" y="663"/>
                      <a:pt x="460" y="669"/>
                    </a:cubicBezTo>
                    <a:cubicBezTo>
                      <a:pt x="467" y="679"/>
                      <a:pt x="489" y="676"/>
                      <a:pt x="503" y="674"/>
                    </a:cubicBezTo>
                    <a:cubicBezTo>
                      <a:pt x="505" y="675"/>
                      <a:pt x="504" y="671"/>
                      <a:pt x="505" y="670"/>
                    </a:cubicBezTo>
                    <a:cubicBezTo>
                      <a:pt x="509" y="669"/>
                      <a:pt x="518" y="674"/>
                      <a:pt x="516" y="667"/>
                    </a:cubicBezTo>
                    <a:cubicBezTo>
                      <a:pt x="520" y="669"/>
                      <a:pt x="520" y="672"/>
                      <a:pt x="518" y="676"/>
                    </a:cubicBezTo>
                    <a:cubicBezTo>
                      <a:pt x="518" y="677"/>
                      <a:pt x="516" y="678"/>
                      <a:pt x="516" y="678"/>
                    </a:cubicBezTo>
                    <a:cubicBezTo>
                      <a:pt x="516" y="681"/>
                      <a:pt x="517" y="686"/>
                      <a:pt x="516" y="689"/>
                    </a:cubicBezTo>
                    <a:cubicBezTo>
                      <a:pt x="516" y="690"/>
                      <a:pt x="513" y="689"/>
                      <a:pt x="513" y="689"/>
                    </a:cubicBezTo>
                    <a:cubicBezTo>
                      <a:pt x="512" y="690"/>
                      <a:pt x="512" y="698"/>
                      <a:pt x="511" y="700"/>
                    </a:cubicBezTo>
                    <a:cubicBezTo>
                      <a:pt x="510" y="702"/>
                      <a:pt x="505" y="703"/>
                      <a:pt x="507" y="710"/>
                    </a:cubicBezTo>
                    <a:cubicBezTo>
                      <a:pt x="501" y="710"/>
                      <a:pt x="505" y="720"/>
                      <a:pt x="498" y="719"/>
                    </a:cubicBezTo>
                    <a:cubicBezTo>
                      <a:pt x="499" y="725"/>
                      <a:pt x="496" y="726"/>
                      <a:pt x="496" y="730"/>
                    </a:cubicBezTo>
                    <a:cubicBezTo>
                      <a:pt x="489" y="728"/>
                      <a:pt x="493" y="737"/>
                      <a:pt x="486" y="736"/>
                    </a:cubicBezTo>
                    <a:cubicBezTo>
                      <a:pt x="486" y="738"/>
                      <a:pt x="486" y="739"/>
                      <a:pt x="486" y="741"/>
                    </a:cubicBezTo>
                    <a:cubicBezTo>
                      <a:pt x="485" y="741"/>
                      <a:pt x="484" y="739"/>
                      <a:pt x="483" y="739"/>
                    </a:cubicBezTo>
                    <a:cubicBezTo>
                      <a:pt x="479" y="741"/>
                      <a:pt x="481" y="743"/>
                      <a:pt x="475" y="745"/>
                    </a:cubicBezTo>
                    <a:cubicBezTo>
                      <a:pt x="475" y="745"/>
                      <a:pt x="470" y="747"/>
                      <a:pt x="470" y="747"/>
                    </a:cubicBezTo>
                    <a:cubicBezTo>
                      <a:pt x="470" y="747"/>
                      <a:pt x="470" y="749"/>
                      <a:pt x="470" y="749"/>
                    </a:cubicBezTo>
                    <a:cubicBezTo>
                      <a:pt x="468" y="750"/>
                      <a:pt x="464" y="751"/>
                      <a:pt x="462" y="753"/>
                    </a:cubicBezTo>
                    <a:cubicBezTo>
                      <a:pt x="458" y="756"/>
                      <a:pt x="456" y="762"/>
                      <a:pt x="449" y="762"/>
                    </a:cubicBezTo>
                    <a:cubicBezTo>
                      <a:pt x="451" y="767"/>
                      <a:pt x="447" y="767"/>
                      <a:pt x="447" y="771"/>
                    </a:cubicBezTo>
                    <a:cubicBezTo>
                      <a:pt x="445" y="773"/>
                      <a:pt x="444" y="772"/>
                      <a:pt x="442" y="771"/>
                    </a:cubicBezTo>
                    <a:cubicBezTo>
                      <a:pt x="443" y="773"/>
                      <a:pt x="439" y="776"/>
                      <a:pt x="440" y="777"/>
                    </a:cubicBezTo>
                    <a:cubicBezTo>
                      <a:pt x="444" y="780"/>
                      <a:pt x="438" y="777"/>
                      <a:pt x="438" y="782"/>
                    </a:cubicBezTo>
                    <a:cubicBezTo>
                      <a:pt x="438" y="785"/>
                      <a:pt x="435" y="783"/>
                      <a:pt x="434" y="784"/>
                    </a:cubicBezTo>
                    <a:cubicBezTo>
                      <a:pt x="434" y="785"/>
                      <a:pt x="435" y="787"/>
                      <a:pt x="434" y="788"/>
                    </a:cubicBezTo>
                    <a:cubicBezTo>
                      <a:pt x="434" y="790"/>
                      <a:pt x="430" y="804"/>
                      <a:pt x="431" y="808"/>
                    </a:cubicBezTo>
                    <a:cubicBezTo>
                      <a:pt x="431" y="812"/>
                      <a:pt x="432" y="813"/>
                      <a:pt x="434" y="816"/>
                    </a:cubicBezTo>
                    <a:cubicBezTo>
                      <a:pt x="435" y="821"/>
                      <a:pt x="434" y="823"/>
                      <a:pt x="434" y="827"/>
                    </a:cubicBezTo>
                    <a:cubicBezTo>
                      <a:pt x="434" y="828"/>
                      <a:pt x="436" y="834"/>
                      <a:pt x="438" y="835"/>
                    </a:cubicBezTo>
                    <a:cubicBezTo>
                      <a:pt x="443" y="835"/>
                      <a:pt x="432" y="843"/>
                      <a:pt x="442" y="844"/>
                    </a:cubicBezTo>
                    <a:cubicBezTo>
                      <a:pt x="441" y="853"/>
                      <a:pt x="443" y="860"/>
                      <a:pt x="442" y="868"/>
                    </a:cubicBezTo>
                    <a:cubicBezTo>
                      <a:pt x="441" y="873"/>
                      <a:pt x="436" y="878"/>
                      <a:pt x="436" y="883"/>
                    </a:cubicBezTo>
                    <a:cubicBezTo>
                      <a:pt x="432" y="883"/>
                      <a:pt x="425" y="888"/>
                      <a:pt x="423" y="890"/>
                    </a:cubicBezTo>
                    <a:cubicBezTo>
                      <a:pt x="422" y="892"/>
                      <a:pt x="421" y="892"/>
                      <a:pt x="423" y="892"/>
                    </a:cubicBezTo>
                    <a:cubicBezTo>
                      <a:pt x="423" y="895"/>
                      <a:pt x="419" y="893"/>
                      <a:pt x="418" y="894"/>
                    </a:cubicBezTo>
                    <a:cubicBezTo>
                      <a:pt x="416" y="895"/>
                      <a:pt x="417" y="897"/>
                      <a:pt x="416" y="898"/>
                    </a:cubicBezTo>
                    <a:cubicBezTo>
                      <a:pt x="415" y="898"/>
                      <a:pt x="412" y="894"/>
                      <a:pt x="412" y="898"/>
                    </a:cubicBezTo>
                    <a:cubicBezTo>
                      <a:pt x="412" y="900"/>
                      <a:pt x="410" y="899"/>
                      <a:pt x="408" y="900"/>
                    </a:cubicBezTo>
                    <a:cubicBezTo>
                      <a:pt x="406" y="901"/>
                      <a:pt x="406" y="906"/>
                      <a:pt x="401" y="905"/>
                    </a:cubicBezTo>
                    <a:cubicBezTo>
                      <a:pt x="398" y="916"/>
                      <a:pt x="401" y="931"/>
                      <a:pt x="403" y="946"/>
                    </a:cubicBezTo>
                    <a:cubicBezTo>
                      <a:pt x="401" y="948"/>
                      <a:pt x="399" y="949"/>
                      <a:pt x="399" y="946"/>
                    </a:cubicBezTo>
                    <a:cubicBezTo>
                      <a:pt x="397" y="946"/>
                      <a:pt x="398" y="949"/>
                      <a:pt x="397" y="950"/>
                    </a:cubicBezTo>
                    <a:cubicBezTo>
                      <a:pt x="395" y="952"/>
                      <a:pt x="392" y="949"/>
                      <a:pt x="391" y="952"/>
                    </a:cubicBezTo>
                    <a:cubicBezTo>
                      <a:pt x="391" y="955"/>
                      <a:pt x="384" y="954"/>
                      <a:pt x="382" y="958"/>
                    </a:cubicBezTo>
                    <a:cubicBezTo>
                      <a:pt x="382" y="961"/>
                      <a:pt x="382" y="965"/>
                      <a:pt x="382" y="969"/>
                    </a:cubicBezTo>
                    <a:cubicBezTo>
                      <a:pt x="378" y="969"/>
                      <a:pt x="380" y="975"/>
                      <a:pt x="378" y="978"/>
                    </a:cubicBezTo>
                    <a:cubicBezTo>
                      <a:pt x="378" y="979"/>
                      <a:pt x="375" y="979"/>
                      <a:pt x="375" y="980"/>
                    </a:cubicBezTo>
                    <a:cubicBezTo>
                      <a:pt x="373" y="983"/>
                      <a:pt x="374" y="987"/>
                      <a:pt x="371" y="989"/>
                    </a:cubicBezTo>
                    <a:cubicBezTo>
                      <a:pt x="370" y="990"/>
                      <a:pt x="371" y="992"/>
                      <a:pt x="371" y="993"/>
                    </a:cubicBezTo>
                    <a:cubicBezTo>
                      <a:pt x="371" y="993"/>
                      <a:pt x="368" y="992"/>
                      <a:pt x="367" y="993"/>
                    </a:cubicBezTo>
                    <a:cubicBezTo>
                      <a:pt x="367" y="994"/>
                      <a:pt x="368" y="997"/>
                      <a:pt x="367" y="999"/>
                    </a:cubicBezTo>
                    <a:cubicBezTo>
                      <a:pt x="367" y="999"/>
                      <a:pt x="364" y="998"/>
                      <a:pt x="363" y="999"/>
                    </a:cubicBezTo>
                    <a:cubicBezTo>
                      <a:pt x="363" y="999"/>
                      <a:pt x="364" y="1002"/>
                      <a:pt x="363" y="1002"/>
                    </a:cubicBezTo>
                    <a:cubicBezTo>
                      <a:pt x="363" y="1003"/>
                      <a:pt x="360" y="1002"/>
                      <a:pt x="360" y="1002"/>
                    </a:cubicBezTo>
                    <a:cubicBezTo>
                      <a:pt x="359" y="1003"/>
                      <a:pt x="356" y="1006"/>
                      <a:pt x="356" y="1008"/>
                    </a:cubicBezTo>
                    <a:cubicBezTo>
                      <a:pt x="356" y="1010"/>
                      <a:pt x="354" y="1009"/>
                      <a:pt x="352" y="1010"/>
                    </a:cubicBezTo>
                    <a:cubicBezTo>
                      <a:pt x="352" y="1010"/>
                      <a:pt x="353" y="1013"/>
                      <a:pt x="352" y="1013"/>
                    </a:cubicBezTo>
                    <a:cubicBezTo>
                      <a:pt x="352" y="1014"/>
                      <a:pt x="349" y="1013"/>
                      <a:pt x="349" y="1013"/>
                    </a:cubicBezTo>
                    <a:cubicBezTo>
                      <a:pt x="347" y="1015"/>
                      <a:pt x="346" y="1016"/>
                      <a:pt x="345" y="1017"/>
                    </a:cubicBezTo>
                    <a:cubicBezTo>
                      <a:pt x="344" y="1018"/>
                      <a:pt x="342" y="1021"/>
                      <a:pt x="341" y="1021"/>
                    </a:cubicBezTo>
                    <a:cubicBezTo>
                      <a:pt x="340" y="1021"/>
                      <a:pt x="335" y="1023"/>
                      <a:pt x="335" y="1023"/>
                    </a:cubicBezTo>
                    <a:cubicBezTo>
                      <a:pt x="334" y="1022"/>
                      <a:pt x="334" y="1021"/>
                      <a:pt x="332" y="1023"/>
                    </a:cubicBezTo>
                    <a:cubicBezTo>
                      <a:pt x="329" y="1024"/>
                      <a:pt x="328" y="1024"/>
                      <a:pt x="324" y="1025"/>
                    </a:cubicBezTo>
                    <a:cubicBezTo>
                      <a:pt x="323" y="1025"/>
                      <a:pt x="311" y="1030"/>
                      <a:pt x="308" y="1025"/>
                    </a:cubicBezTo>
                    <a:cubicBezTo>
                      <a:pt x="305" y="1025"/>
                      <a:pt x="307" y="1027"/>
                      <a:pt x="308" y="1027"/>
                    </a:cubicBezTo>
                    <a:cubicBezTo>
                      <a:pt x="305" y="1031"/>
                      <a:pt x="301" y="1027"/>
                      <a:pt x="295" y="1028"/>
                    </a:cubicBezTo>
                    <a:cubicBezTo>
                      <a:pt x="292" y="1029"/>
                      <a:pt x="293" y="1030"/>
                      <a:pt x="295" y="1030"/>
                    </a:cubicBezTo>
                    <a:cubicBezTo>
                      <a:pt x="293" y="1033"/>
                      <a:pt x="283" y="1028"/>
                      <a:pt x="278" y="1028"/>
                    </a:cubicBezTo>
                    <a:cubicBezTo>
                      <a:pt x="278" y="1019"/>
                      <a:pt x="269" y="1014"/>
                      <a:pt x="274" y="1006"/>
                    </a:cubicBezTo>
                    <a:cubicBezTo>
                      <a:pt x="270" y="1003"/>
                      <a:pt x="265" y="1000"/>
                      <a:pt x="267" y="991"/>
                    </a:cubicBezTo>
                    <a:cubicBezTo>
                      <a:pt x="261" y="997"/>
                      <a:pt x="265" y="994"/>
                      <a:pt x="263" y="985"/>
                    </a:cubicBezTo>
                    <a:cubicBezTo>
                      <a:pt x="260" y="977"/>
                      <a:pt x="249" y="970"/>
                      <a:pt x="252" y="959"/>
                    </a:cubicBezTo>
                    <a:cubicBezTo>
                      <a:pt x="250" y="958"/>
                      <a:pt x="250" y="963"/>
                      <a:pt x="250" y="963"/>
                    </a:cubicBezTo>
                    <a:cubicBezTo>
                      <a:pt x="246" y="962"/>
                      <a:pt x="250" y="950"/>
                      <a:pt x="246" y="956"/>
                    </a:cubicBezTo>
                    <a:cubicBezTo>
                      <a:pt x="243" y="953"/>
                      <a:pt x="244" y="947"/>
                      <a:pt x="244" y="943"/>
                    </a:cubicBezTo>
                    <a:cubicBezTo>
                      <a:pt x="245" y="937"/>
                      <a:pt x="245" y="933"/>
                      <a:pt x="242" y="926"/>
                    </a:cubicBezTo>
                    <a:cubicBezTo>
                      <a:pt x="243" y="923"/>
                      <a:pt x="238" y="925"/>
                      <a:pt x="237" y="924"/>
                    </a:cubicBezTo>
                    <a:cubicBezTo>
                      <a:pt x="236" y="923"/>
                      <a:pt x="242" y="919"/>
                      <a:pt x="233" y="920"/>
                    </a:cubicBezTo>
                    <a:cubicBezTo>
                      <a:pt x="232" y="919"/>
                      <a:pt x="234" y="915"/>
                      <a:pt x="233" y="915"/>
                    </a:cubicBezTo>
                    <a:cubicBezTo>
                      <a:pt x="233" y="914"/>
                      <a:pt x="229" y="915"/>
                      <a:pt x="229" y="915"/>
                    </a:cubicBezTo>
                    <a:cubicBezTo>
                      <a:pt x="229" y="914"/>
                      <a:pt x="235" y="907"/>
                      <a:pt x="227" y="909"/>
                    </a:cubicBezTo>
                    <a:cubicBezTo>
                      <a:pt x="227" y="906"/>
                      <a:pt x="230" y="905"/>
                      <a:pt x="229" y="902"/>
                    </a:cubicBezTo>
                    <a:cubicBezTo>
                      <a:pt x="226" y="900"/>
                      <a:pt x="230" y="892"/>
                      <a:pt x="224" y="894"/>
                    </a:cubicBezTo>
                    <a:cubicBezTo>
                      <a:pt x="223" y="877"/>
                      <a:pt x="225" y="871"/>
                      <a:pt x="233" y="861"/>
                    </a:cubicBezTo>
                    <a:cubicBezTo>
                      <a:pt x="232" y="858"/>
                      <a:pt x="235" y="851"/>
                      <a:pt x="231" y="851"/>
                    </a:cubicBezTo>
                    <a:cubicBezTo>
                      <a:pt x="231" y="848"/>
                      <a:pt x="235" y="851"/>
                      <a:pt x="237" y="849"/>
                    </a:cubicBezTo>
                    <a:cubicBezTo>
                      <a:pt x="238" y="849"/>
                      <a:pt x="236" y="845"/>
                      <a:pt x="239" y="846"/>
                    </a:cubicBezTo>
                    <a:cubicBezTo>
                      <a:pt x="238" y="843"/>
                      <a:pt x="237" y="826"/>
                      <a:pt x="235" y="831"/>
                    </a:cubicBezTo>
                    <a:cubicBezTo>
                      <a:pt x="231" y="827"/>
                      <a:pt x="233" y="823"/>
                      <a:pt x="233" y="820"/>
                    </a:cubicBezTo>
                    <a:cubicBezTo>
                      <a:pt x="233" y="815"/>
                      <a:pt x="234" y="810"/>
                      <a:pt x="233" y="807"/>
                    </a:cubicBezTo>
                    <a:cubicBezTo>
                      <a:pt x="233" y="804"/>
                      <a:pt x="230" y="806"/>
                      <a:pt x="229" y="805"/>
                    </a:cubicBezTo>
                    <a:cubicBezTo>
                      <a:pt x="229" y="804"/>
                      <a:pt x="231" y="802"/>
                      <a:pt x="231" y="801"/>
                    </a:cubicBezTo>
                    <a:cubicBezTo>
                      <a:pt x="231" y="801"/>
                      <a:pt x="229" y="800"/>
                      <a:pt x="229" y="799"/>
                    </a:cubicBezTo>
                    <a:cubicBezTo>
                      <a:pt x="229" y="795"/>
                      <a:pt x="227" y="796"/>
                      <a:pt x="226" y="794"/>
                    </a:cubicBezTo>
                    <a:cubicBezTo>
                      <a:pt x="225" y="793"/>
                      <a:pt x="226" y="790"/>
                      <a:pt x="226" y="790"/>
                    </a:cubicBezTo>
                    <a:cubicBezTo>
                      <a:pt x="225" y="790"/>
                      <a:pt x="220" y="789"/>
                      <a:pt x="222" y="788"/>
                    </a:cubicBezTo>
                    <a:cubicBezTo>
                      <a:pt x="222" y="788"/>
                      <a:pt x="224" y="788"/>
                      <a:pt x="224" y="788"/>
                    </a:cubicBezTo>
                    <a:cubicBezTo>
                      <a:pt x="221" y="784"/>
                      <a:pt x="219" y="783"/>
                      <a:pt x="214" y="780"/>
                    </a:cubicBezTo>
                    <a:cubicBezTo>
                      <a:pt x="213" y="780"/>
                      <a:pt x="215" y="779"/>
                      <a:pt x="213" y="779"/>
                    </a:cubicBezTo>
                    <a:cubicBezTo>
                      <a:pt x="211" y="779"/>
                      <a:pt x="211" y="773"/>
                      <a:pt x="207" y="775"/>
                    </a:cubicBezTo>
                    <a:cubicBezTo>
                      <a:pt x="203" y="759"/>
                      <a:pt x="207" y="746"/>
                      <a:pt x="207" y="728"/>
                    </a:cubicBezTo>
                    <a:cubicBezTo>
                      <a:pt x="206" y="725"/>
                      <a:pt x="202" y="731"/>
                      <a:pt x="203" y="723"/>
                    </a:cubicBezTo>
                    <a:cubicBezTo>
                      <a:pt x="192" y="724"/>
                      <a:pt x="184" y="722"/>
                      <a:pt x="177" y="719"/>
                    </a:cubicBezTo>
                    <a:cubicBezTo>
                      <a:pt x="179" y="709"/>
                      <a:pt x="172" y="720"/>
                      <a:pt x="173" y="710"/>
                    </a:cubicBezTo>
                    <a:cubicBezTo>
                      <a:pt x="165" y="707"/>
                      <a:pt x="163" y="705"/>
                      <a:pt x="153" y="708"/>
                    </a:cubicBezTo>
                    <a:cubicBezTo>
                      <a:pt x="151" y="708"/>
                      <a:pt x="148" y="709"/>
                      <a:pt x="145" y="710"/>
                    </a:cubicBezTo>
                    <a:cubicBezTo>
                      <a:pt x="144" y="710"/>
                      <a:pt x="140" y="713"/>
                      <a:pt x="134" y="711"/>
                    </a:cubicBezTo>
                    <a:cubicBezTo>
                      <a:pt x="137" y="716"/>
                      <a:pt x="140" y="713"/>
                      <a:pt x="130" y="715"/>
                    </a:cubicBezTo>
                    <a:cubicBezTo>
                      <a:pt x="124" y="717"/>
                      <a:pt x="120" y="718"/>
                      <a:pt x="110" y="719"/>
                    </a:cubicBezTo>
                    <a:cubicBezTo>
                      <a:pt x="107" y="719"/>
                      <a:pt x="107" y="717"/>
                      <a:pt x="104" y="717"/>
                    </a:cubicBezTo>
                    <a:cubicBezTo>
                      <a:pt x="92" y="716"/>
                      <a:pt x="79" y="723"/>
                      <a:pt x="69" y="721"/>
                    </a:cubicBezTo>
                    <a:cubicBezTo>
                      <a:pt x="70" y="714"/>
                      <a:pt x="62" y="716"/>
                      <a:pt x="60" y="715"/>
                    </a:cubicBezTo>
                    <a:cubicBezTo>
                      <a:pt x="59" y="715"/>
                      <a:pt x="60" y="712"/>
                      <a:pt x="60" y="711"/>
                    </a:cubicBezTo>
                    <a:cubicBezTo>
                      <a:pt x="59" y="711"/>
                      <a:pt x="55" y="712"/>
                      <a:pt x="54" y="711"/>
                    </a:cubicBezTo>
                    <a:cubicBezTo>
                      <a:pt x="53" y="711"/>
                      <a:pt x="55" y="708"/>
                      <a:pt x="54" y="708"/>
                    </a:cubicBezTo>
                    <a:cubicBezTo>
                      <a:pt x="53" y="707"/>
                      <a:pt x="50" y="709"/>
                      <a:pt x="50" y="706"/>
                    </a:cubicBezTo>
                    <a:cubicBezTo>
                      <a:pt x="50" y="705"/>
                      <a:pt x="47" y="702"/>
                      <a:pt x="47" y="702"/>
                    </a:cubicBezTo>
                    <a:cubicBezTo>
                      <a:pt x="46" y="701"/>
                      <a:pt x="47" y="700"/>
                      <a:pt x="45" y="700"/>
                    </a:cubicBezTo>
                    <a:cubicBezTo>
                      <a:pt x="43" y="700"/>
                      <a:pt x="43" y="698"/>
                      <a:pt x="43" y="697"/>
                    </a:cubicBezTo>
                    <a:cubicBezTo>
                      <a:pt x="42" y="694"/>
                      <a:pt x="40" y="696"/>
                      <a:pt x="39" y="695"/>
                    </a:cubicBezTo>
                    <a:cubicBezTo>
                      <a:pt x="39" y="694"/>
                      <a:pt x="40" y="692"/>
                      <a:pt x="39" y="691"/>
                    </a:cubicBezTo>
                    <a:cubicBezTo>
                      <a:pt x="38" y="689"/>
                      <a:pt x="35" y="692"/>
                      <a:pt x="35" y="689"/>
                    </a:cubicBezTo>
                    <a:cubicBezTo>
                      <a:pt x="35" y="688"/>
                      <a:pt x="37" y="686"/>
                      <a:pt x="37" y="687"/>
                    </a:cubicBezTo>
                    <a:cubicBezTo>
                      <a:pt x="35" y="681"/>
                      <a:pt x="26" y="682"/>
                      <a:pt x="28" y="676"/>
                    </a:cubicBezTo>
                    <a:cubicBezTo>
                      <a:pt x="19" y="679"/>
                      <a:pt x="23" y="668"/>
                      <a:pt x="15" y="670"/>
                    </a:cubicBezTo>
                    <a:cubicBezTo>
                      <a:pt x="16" y="669"/>
                      <a:pt x="17" y="667"/>
                      <a:pt x="17" y="665"/>
                    </a:cubicBezTo>
                    <a:cubicBezTo>
                      <a:pt x="16" y="662"/>
                      <a:pt x="12" y="663"/>
                      <a:pt x="9" y="663"/>
                    </a:cubicBezTo>
                    <a:cubicBezTo>
                      <a:pt x="11" y="660"/>
                      <a:pt x="6" y="659"/>
                      <a:pt x="6" y="657"/>
                    </a:cubicBezTo>
                    <a:cubicBezTo>
                      <a:pt x="5" y="654"/>
                      <a:pt x="9" y="655"/>
                      <a:pt x="6" y="650"/>
                    </a:cubicBezTo>
                    <a:cubicBezTo>
                      <a:pt x="5" y="649"/>
                      <a:pt x="4" y="650"/>
                      <a:pt x="4" y="648"/>
                    </a:cubicBezTo>
                    <a:cubicBezTo>
                      <a:pt x="4" y="647"/>
                      <a:pt x="2" y="642"/>
                      <a:pt x="0" y="641"/>
                    </a:cubicBezTo>
                    <a:cubicBezTo>
                      <a:pt x="0" y="638"/>
                      <a:pt x="4" y="640"/>
                      <a:pt x="6" y="639"/>
                    </a:cubicBezTo>
                    <a:cubicBezTo>
                      <a:pt x="7" y="638"/>
                      <a:pt x="6" y="632"/>
                      <a:pt x="9" y="633"/>
                    </a:cubicBezTo>
                    <a:cubicBezTo>
                      <a:pt x="9" y="623"/>
                      <a:pt x="9" y="612"/>
                      <a:pt x="9" y="602"/>
                    </a:cubicBezTo>
                    <a:cubicBezTo>
                      <a:pt x="10" y="599"/>
                      <a:pt x="6" y="601"/>
                      <a:pt x="6" y="600"/>
                    </a:cubicBezTo>
                    <a:cubicBezTo>
                      <a:pt x="5" y="599"/>
                      <a:pt x="7" y="597"/>
                      <a:pt x="7" y="596"/>
                    </a:cubicBezTo>
                    <a:cubicBezTo>
                      <a:pt x="8" y="593"/>
                      <a:pt x="5" y="592"/>
                      <a:pt x="6" y="588"/>
                    </a:cubicBezTo>
                    <a:cubicBezTo>
                      <a:pt x="13" y="596"/>
                      <a:pt x="6" y="575"/>
                      <a:pt x="13" y="583"/>
                    </a:cubicBezTo>
                    <a:cubicBezTo>
                      <a:pt x="14" y="581"/>
                      <a:pt x="13" y="574"/>
                      <a:pt x="15" y="572"/>
                    </a:cubicBezTo>
                    <a:cubicBezTo>
                      <a:pt x="15" y="571"/>
                      <a:pt x="19" y="572"/>
                      <a:pt x="19" y="572"/>
                    </a:cubicBezTo>
                    <a:cubicBezTo>
                      <a:pt x="19" y="571"/>
                      <a:pt x="16" y="568"/>
                      <a:pt x="17" y="566"/>
                    </a:cubicBezTo>
                    <a:cubicBezTo>
                      <a:pt x="24" y="564"/>
                      <a:pt x="23" y="554"/>
                      <a:pt x="30" y="553"/>
                    </a:cubicBezTo>
                    <a:cubicBezTo>
                      <a:pt x="30" y="547"/>
                      <a:pt x="36" y="547"/>
                      <a:pt x="35" y="540"/>
                    </a:cubicBezTo>
                    <a:cubicBezTo>
                      <a:pt x="39" y="541"/>
                      <a:pt x="39" y="539"/>
                      <a:pt x="39" y="536"/>
                    </a:cubicBezTo>
                    <a:cubicBezTo>
                      <a:pt x="50" y="535"/>
                      <a:pt x="59" y="531"/>
                      <a:pt x="58" y="518"/>
                    </a:cubicBezTo>
                    <a:cubicBezTo>
                      <a:pt x="65" y="519"/>
                      <a:pt x="59" y="507"/>
                      <a:pt x="65" y="508"/>
                    </a:cubicBezTo>
                    <a:cubicBezTo>
                      <a:pt x="65" y="505"/>
                      <a:pt x="65" y="501"/>
                      <a:pt x="65" y="497"/>
                    </a:cubicBezTo>
                    <a:cubicBezTo>
                      <a:pt x="69" y="497"/>
                      <a:pt x="69" y="495"/>
                      <a:pt x="73" y="495"/>
                    </a:cubicBezTo>
                    <a:cubicBezTo>
                      <a:pt x="76" y="492"/>
                      <a:pt x="79" y="489"/>
                      <a:pt x="82" y="484"/>
                    </a:cubicBezTo>
                    <a:cubicBezTo>
                      <a:pt x="83" y="483"/>
                      <a:pt x="84" y="484"/>
                      <a:pt x="84" y="482"/>
                    </a:cubicBezTo>
                    <a:cubicBezTo>
                      <a:pt x="84" y="480"/>
                      <a:pt x="89" y="480"/>
                      <a:pt x="88" y="477"/>
                    </a:cubicBezTo>
                    <a:cubicBezTo>
                      <a:pt x="96" y="478"/>
                      <a:pt x="97" y="472"/>
                      <a:pt x="104" y="473"/>
                    </a:cubicBezTo>
                    <a:cubicBezTo>
                      <a:pt x="102" y="480"/>
                      <a:pt x="113" y="473"/>
                      <a:pt x="110" y="480"/>
                    </a:cubicBezTo>
                    <a:cubicBezTo>
                      <a:pt x="114" y="476"/>
                      <a:pt x="129" y="483"/>
                      <a:pt x="129" y="475"/>
                    </a:cubicBezTo>
                    <a:cubicBezTo>
                      <a:pt x="137" y="474"/>
                      <a:pt x="145" y="471"/>
                      <a:pt x="149" y="465"/>
                    </a:cubicBezTo>
                    <a:cubicBezTo>
                      <a:pt x="152" y="466"/>
                      <a:pt x="154" y="466"/>
                      <a:pt x="155" y="464"/>
                    </a:cubicBezTo>
                    <a:cubicBezTo>
                      <a:pt x="158" y="464"/>
                      <a:pt x="159" y="465"/>
                      <a:pt x="162" y="465"/>
                    </a:cubicBezTo>
                    <a:cubicBezTo>
                      <a:pt x="166" y="466"/>
                      <a:pt x="170" y="463"/>
                      <a:pt x="173" y="464"/>
                    </a:cubicBezTo>
                    <a:cubicBezTo>
                      <a:pt x="173" y="464"/>
                      <a:pt x="174" y="465"/>
                      <a:pt x="175" y="465"/>
                    </a:cubicBezTo>
                    <a:cubicBezTo>
                      <a:pt x="179" y="466"/>
                      <a:pt x="187" y="469"/>
                      <a:pt x="196" y="467"/>
                    </a:cubicBezTo>
                    <a:cubicBezTo>
                      <a:pt x="199" y="467"/>
                      <a:pt x="205" y="461"/>
                      <a:pt x="209" y="465"/>
                    </a:cubicBezTo>
                    <a:cubicBezTo>
                      <a:pt x="212" y="468"/>
                      <a:pt x="211" y="466"/>
                      <a:pt x="216" y="465"/>
                    </a:cubicBezTo>
                    <a:cubicBezTo>
                      <a:pt x="216" y="467"/>
                      <a:pt x="219" y="467"/>
                      <a:pt x="218" y="469"/>
                    </a:cubicBezTo>
                    <a:cubicBezTo>
                      <a:pt x="218" y="470"/>
                      <a:pt x="214" y="471"/>
                      <a:pt x="214" y="471"/>
                    </a:cubicBezTo>
                    <a:cubicBezTo>
                      <a:pt x="214" y="473"/>
                      <a:pt x="216" y="472"/>
                      <a:pt x="216" y="473"/>
                    </a:cubicBezTo>
                    <a:cubicBezTo>
                      <a:pt x="217" y="475"/>
                      <a:pt x="214" y="475"/>
                      <a:pt x="214" y="475"/>
                    </a:cubicBezTo>
                    <a:cubicBezTo>
                      <a:pt x="215" y="476"/>
                      <a:pt x="216" y="477"/>
                      <a:pt x="216" y="479"/>
                    </a:cubicBezTo>
                    <a:cubicBezTo>
                      <a:pt x="216" y="484"/>
                      <a:pt x="213" y="486"/>
                      <a:pt x="218" y="493"/>
                    </a:cubicBezTo>
                    <a:cubicBezTo>
                      <a:pt x="219" y="498"/>
                      <a:pt x="221" y="491"/>
                      <a:pt x="224" y="495"/>
                    </a:cubicBezTo>
                    <a:cubicBezTo>
                      <a:pt x="223" y="498"/>
                      <a:pt x="227" y="496"/>
                      <a:pt x="227" y="497"/>
                    </a:cubicBezTo>
                    <a:cubicBezTo>
                      <a:pt x="228" y="498"/>
                      <a:pt x="227" y="500"/>
                      <a:pt x="227" y="501"/>
                    </a:cubicBezTo>
                    <a:cubicBezTo>
                      <a:pt x="229" y="502"/>
                      <a:pt x="233" y="500"/>
                      <a:pt x="233" y="503"/>
                    </a:cubicBezTo>
                    <a:cubicBezTo>
                      <a:pt x="239" y="500"/>
                      <a:pt x="243" y="508"/>
                      <a:pt x="246" y="503"/>
                    </a:cubicBezTo>
                    <a:cubicBezTo>
                      <a:pt x="248" y="502"/>
                      <a:pt x="247" y="506"/>
                      <a:pt x="248" y="506"/>
                    </a:cubicBezTo>
                    <a:cubicBezTo>
                      <a:pt x="251" y="508"/>
                      <a:pt x="253" y="506"/>
                      <a:pt x="257" y="508"/>
                    </a:cubicBezTo>
                    <a:cubicBezTo>
                      <a:pt x="258" y="509"/>
                      <a:pt x="258" y="511"/>
                      <a:pt x="259" y="512"/>
                    </a:cubicBezTo>
                    <a:cubicBezTo>
                      <a:pt x="260" y="513"/>
                      <a:pt x="262" y="511"/>
                      <a:pt x="263" y="512"/>
                    </a:cubicBezTo>
                    <a:cubicBezTo>
                      <a:pt x="265" y="514"/>
                      <a:pt x="266" y="513"/>
                      <a:pt x="268" y="514"/>
                    </a:cubicBezTo>
                    <a:cubicBezTo>
                      <a:pt x="269" y="514"/>
                      <a:pt x="270" y="518"/>
                      <a:pt x="270" y="518"/>
                    </a:cubicBezTo>
                    <a:cubicBezTo>
                      <a:pt x="271" y="518"/>
                      <a:pt x="274" y="516"/>
                      <a:pt x="276" y="516"/>
                    </a:cubicBezTo>
                    <a:cubicBezTo>
                      <a:pt x="275" y="516"/>
                      <a:pt x="277" y="517"/>
                      <a:pt x="278" y="518"/>
                    </a:cubicBezTo>
                    <a:cubicBezTo>
                      <a:pt x="279" y="518"/>
                      <a:pt x="280" y="517"/>
                      <a:pt x="281" y="518"/>
                    </a:cubicBezTo>
                    <a:cubicBezTo>
                      <a:pt x="282" y="516"/>
                      <a:pt x="284" y="515"/>
                      <a:pt x="285" y="514"/>
                    </a:cubicBezTo>
                    <a:cubicBezTo>
                      <a:pt x="285" y="514"/>
                      <a:pt x="288" y="513"/>
                      <a:pt x="287" y="512"/>
                    </a:cubicBezTo>
                    <a:cubicBezTo>
                      <a:pt x="282" y="508"/>
                      <a:pt x="292" y="509"/>
                      <a:pt x="293" y="503"/>
                    </a:cubicBezTo>
                    <a:cubicBezTo>
                      <a:pt x="298" y="504"/>
                      <a:pt x="298" y="499"/>
                      <a:pt x="304" y="501"/>
                    </a:cubicBezTo>
                    <a:cubicBezTo>
                      <a:pt x="305" y="501"/>
                      <a:pt x="305" y="503"/>
                      <a:pt x="306" y="503"/>
                    </a:cubicBezTo>
                    <a:cubicBezTo>
                      <a:pt x="308" y="503"/>
                      <a:pt x="311" y="502"/>
                      <a:pt x="313" y="503"/>
                    </a:cubicBezTo>
                    <a:cubicBezTo>
                      <a:pt x="314" y="503"/>
                      <a:pt x="317" y="506"/>
                      <a:pt x="317" y="506"/>
                    </a:cubicBezTo>
                    <a:cubicBezTo>
                      <a:pt x="318" y="507"/>
                      <a:pt x="320" y="504"/>
                      <a:pt x="322" y="505"/>
                    </a:cubicBezTo>
                    <a:cubicBezTo>
                      <a:pt x="323" y="505"/>
                      <a:pt x="322" y="508"/>
                      <a:pt x="322" y="508"/>
                    </a:cubicBezTo>
                    <a:cubicBezTo>
                      <a:pt x="324" y="509"/>
                      <a:pt x="327" y="505"/>
                      <a:pt x="330" y="506"/>
                    </a:cubicBezTo>
                    <a:cubicBezTo>
                      <a:pt x="331" y="508"/>
                      <a:pt x="326" y="508"/>
                      <a:pt x="326" y="508"/>
                    </a:cubicBezTo>
                    <a:cubicBezTo>
                      <a:pt x="327" y="512"/>
                      <a:pt x="339" y="512"/>
                      <a:pt x="345" y="512"/>
                    </a:cubicBezTo>
                    <a:cubicBezTo>
                      <a:pt x="344" y="519"/>
                      <a:pt x="360" y="517"/>
                      <a:pt x="363" y="512"/>
                    </a:cubicBezTo>
                    <a:cubicBezTo>
                      <a:pt x="365" y="514"/>
                      <a:pt x="373" y="510"/>
                      <a:pt x="375" y="512"/>
                    </a:cubicBezTo>
                    <a:cubicBezTo>
                      <a:pt x="377" y="514"/>
                      <a:pt x="375" y="512"/>
                      <a:pt x="378" y="512"/>
                    </a:cubicBezTo>
                    <a:cubicBezTo>
                      <a:pt x="382" y="512"/>
                      <a:pt x="384" y="514"/>
                      <a:pt x="388" y="514"/>
                    </a:cubicBezTo>
                    <a:cubicBezTo>
                      <a:pt x="391" y="513"/>
                      <a:pt x="393" y="511"/>
                      <a:pt x="397" y="510"/>
                    </a:cubicBezTo>
                    <a:cubicBezTo>
                      <a:pt x="398" y="506"/>
                      <a:pt x="398" y="500"/>
                      <a:pt x="403" y="499"/>
                    </a:cubicBezTo>
                    <a:cubicBezTo>
                      <a:pt x="403" y="496"/>
                      <a:pt x="400" y="495"/>
                      <a:pt x="401" y="492"/>
                    </a:cubicBezTo>
                    <a:cubicBezTo>
                      <a:pt x="407" y="492"/>
                      <a:pt x="406" y="480"/>
                      <a:pt x="412" y="486"/>
                    </a:cubicBezTo>
                    <a:cubicBezTo>
                      <a:pt x="413" y="479"/>
                      <a:pt x="410" y="477"/>
                      <a:pt x="404" y="477"/>
                    </a:cubicBezTo>
                    <a:cubicBezTo>
                      <a:pt x="406" y="475"/>
                      <a:pt x="406" y="472"/>
                      <a:pt x="406" y="469"/>
                    </a:cubicBezTo>
                    <a:cubicBezTo>
                      <a:pt x="404" y="464"/>
                      <a:pt x="393" y="467"/>
                      <a:pt x="391" y="462"/>
                    </a:cubicBezTo>
                    <a:cubicBezTo>
                      <a:pt x="388" y="464"/>
                      <a:pt x="382" y="463"/>
                      <a:pt x="380" y="467"/>
                    </a:cubicBezTo>
                    <a:cubicBezTo>
                      <a:pt x="378" y="468"/>
                      <a:pt x="379" y="464"/>
                      <a:pt x="378" y="464"/>
                    </a:cubicBezTo>
                    <a:cubicBezTo>
                      <a:pt x="375" y="462"/>
                      <a:pt x="369" y="465"/>
                      <a:pt x="365" y="464"/>
                    </a:cubicBezTo>
                    <a:cubicBezTo>
                      <a:pt x="363" y="465"/>
                      <a:pt x="363" y="468"/>
                      <a:pt x="360" y="467"/>
                    </a:cubicBezTo>
                    <a:cubicBezTo>
                      <a:pt x="354" y="468"/>
                      <a:pt x="356" y="460"/>
                      <a:pt x="347" y="462"/>
                    </a:cubicBezTo>
                    <a:cubicBezTo>
                      <a:pt x="347" y="458"/>
                      <a:pt x="344" y="458"/>
                      <a:pt x="345" y="454"/>
                    </a:cubicBezTo>
                    <a:cubicBezTo>
                      <a:pt x="343" y="455"/>
                      <a:pt x="342" y="454"/>
                      <a:pt x="341" y="452"/>
                    </a:cubicBezTo>
                    <a:cubicBezTo>
                      <a:pt x="340" y="450"/>
                      <a:pt x="337" y="449"/>
                      <a:pt x="334" y="449"/>
                    </a:cubicBezTo>
                    <a:cubicBezTo>
                      <a:pt x="337" y="444"/>
                      <a:pt x="335" y="433"/>
                      <a:pt x="334" y="428"/>
                    </a:cubicBezTo>
                    <a:cubicBezTo>
                      <a:pt x="329" y="431"/>
                      <a:pt x="323" y="425"/>
                      <a:pt x="322" y="434"/>
                    </a:cubicBezTo>
                    <a:cubicBezTo>
                      <a:pt x="317" y="431"/>
                      <a:pt x="316" y="435"/>
                      <a:pt x="311" y="432"/>
                    </a:cubicBezTo>
                    <a:cubicBezTo>
                      <a:pt x="312" y="434"/>
                      <a:pt x="311" y="435"/>
                      <a:pt x="309" y="436"/>
                    </a:cubicBezTo>
                    <a:cubicBezTo>
                      <a:pt x="311" y="437"/>
                      <a:pt x="312" y="438"/>
                      <a:pt x="313" y="439"/>
                    </a:cubicBezTo>
                    <a:cubicBezTo>
                      <a:pt x="314" y="441"/>
                      <a:pt x="313" y="444"/>
                      <a:pt x="317" y="443"/>
                    </a:cubicBezTo>
                    <a:cubicBezTo>
                      <a:pt x="315" y="449"/>
                      <a:pt x="315" y="447"/>
                      <a:pt x="319" y="451"/>
                    </a:cubicBezTo>
                    <a:cubicBezTo>
                      <a:pt x="320" y="455"/>
                      <a:pt x="316" y="453"/>
                      <a:pt x="315" y="454"/>
                    </a:cubicBezTo>
                    <a:cubicBezTo>
                      <a:pt x="315" y="455"/>
                      <a:pt x="312" y="461"/>
                      <a:pt x="311" y="460"/>
                    </a:cubicBezTo>
                    <a:cubicBezTo>
                      <a:pt x="307" y="456"/>
                      <a:pt x="311" y="465"/>
                      <a:pt x="304" y="464"/>
                    </a:cubicBezTo>
                    <a:cubicBezTo>
                      <a:pt x="303" y="462"/>
                      <a:pt x="302" y="460"/>
                      <a:pt x="300" y="460"/>
                    </a:cubicBezTo>
                    <a:cubicBezTo>
                      <a:pt x="299" y="457"/>
                      <a:pt x="302" y="456"/>
                      <a:pt x="304" y="456"/>
                    </a:cubicBezTo>
                    <a:cubicBezTo>
                      <a:pt x="301" y="453"/>
                      <a:pt x="295" y="451"/>
                      <a:pt x="300" y="447"/>
                    </a:cubicBezTo>
                    <a:cubicBezTo>
                      <a:pt x="298" y="446"/>
                      <a:pt x="294" y="448"/>
                      <a:pt x="293" y="447"/>
                    </a:cubicBezTo>
                    <a:cubicBezTo>
                      <a:pt x="291" y="446"/>
                      <a:pt x="296" y="445"/>
                      <a:pt x="296" y="445"/>
                    </a:cubicBezTo>
                    <a:cubicBezTo>
                      <a:pt x="296" y="445"/>
                      <a:pt x="292" y="440"/>
                      <a:pt x="287" y="438"/>
                    </a:cubicBezTo>
                    <a:cubicBezTo>
                      <a:pt x="288" y="429"/>
                      <a:pt x="283" y="427"/>
                      <a:pt x="283" y="419"/>
                    </a:cubicBezTo>
                    <a:cubicBezTo>
                      <a:pt x="284" y="416"/>
                      <a:pt x="279" y="418"/>
                      <a:pt x="278" y="417"/>
                    </a:cubicBezTo>
                    <a:cubicBezTo>
                      <a:pt x="277" y="416"/>
                      <a:pt x="281" y="414"/>
                      <a:pt x="280" y="413"/>
                    </a:cubicBezTo>
                    <a:cubicBezTo>
                      <a:pt x="276" y="410"/>
                      <a:pt x="275" y="414"/>
                      <a:pt x="272" y="411"/>
                    </a:cubicBezTo>
                    <a:cubicBezTo>
                      <a:pt x="272" y="411"/>
                      <a:pt x="274" y="409"/>
                      <a:pt x="274" y="408"/>
                    </a:cubicBezTo>
                    <a:cubicBezTo>
                      <a:pt x="273" y="406"/>
                      <a:pt x="272" y="410"/>
                      <a:pt x="272" y="410"/>
                    </a:cubicBezTo>
                    <a:cubicBezTo>
                      <a:pt x="270" y="410"/>
                      <a:pt x="271" y="407"/>
                      <a:pt x="270" y="406"/>
                    </a:cubicBezTo>
                    <a:cubicBezTo>
                      <a:pt x="263" y="407"/>
                      <a:pt x="263" y="401"/>
                      <a:pt x="255" y="402"/>
                    </a:cubicBezTo>
                    <a:cubicBezTo>
                      <a:pt x="255" y="400"/>
                      <a:pt x="253" y="400"/>
                      <a:pt x="252" y="398"/>
                    </a:cubicBezTo>
                    <a:cubicBezTo>
                      <a:pt x="251" y="398"/>
                      <a:pt x="252" y="395"/>
                      <a:pt x="252" y="395"/>
                    </a:cubicBezTo>
                    <a:cubicBezTo>
                      <a:pt x="251" y="394"/>
                      <a:pt x="248" y="395"/>
                      <a:pt x="248" y="395"/>
                    </a:cubicBezTo>
                    <a:cubicBezTo>
                      <a:pt x="248" y="394"/>
                      <a:pt x="248" y="387"/>
                      <a:pt x="246" y="389"/>
                    </a:cubicBezTo>
                    <a:cubicBezTo>
                      <a:pt x="245" y="391"/>
                      <a:pt x="244" y="389"/>
                      <a:pt x="242" y="387"/>
                    </a:cubicBezTo>
                    <a:cubicBezTo>
                      <a:pt x="242" y="386"/>
                      <a:pt x="240" y="386"/>
                      <a:pt x="240" y="383"/>
                    </a:cubicBezTo>
                    <a:cubicBezTo>
                      <a:pt x="234" y="384"/>
                      <a:pt x="235" y="386"/>
                      <a:pt x="229" y="383"/>
                    </a:cubicBezTo>
                    <a:cubicBezTo>
                      <a:pt x="227" y="384"/>
                      <a:pt x="228" y="387"/>
                      <a:pt x="226" y="387"/>
                    </a:cubicBezTo>
                    <a:cubicBezTo>
                      <a:pt x="224" y="392"/>
                      <a:pt x="229" y="391"/>
                      <a:pt x="229" y="395"/>
                    </a:cubicBezTo>
                    <a:cubicBezTo>
                      <a:pt x="229" y="396"/>
                      <a:pt x="232" y="399"/>
                      <a:pt x="233" y="400"/>
                    </a:cubicBezTo>
                    <a:cubicBezTo>
                      <a:pt x="234" y="401"/>
                      <a:pt x="235" y="402"/>
                      <a:pt x="237" y="402"/>
                    </a:cubicBezTo>
                    <a:cubicBezTo>
                      <a:pt x="234" y="408"/>
                      <a:pt x="240" y="407"/>
                      <a:pt x="242" y="410"/>
                    </a:cubicBezTo>
                    <a:cubicBezTo>
                      <a:pt x="243" y="410"/>
                      <a:pt x="244" y="417"/>
                      <a:pt x="246" y="415"/>
                    </a:cubicBezTo>
                    <a:cubicBezTo>
                      <a:pt x="249" y="412"/>
                      <a:pt x="246" y="416"/>
                      <a:pt x="248" y="417"/>
                    </a:cubicBezTo>
                    <a:cubicBezTo>
                      <a:pt x="250" y="419"/>
                      <a:pt x="254" y="418"/>
                      <a:pt x="255" y="423"/>
                    </a:cubicBezTo>
                    <a:cubicBezTo>
                      <a:pt x="258" y="421"/>
                      <a:pt x="259" y="424"/>
                      <a:pt x="259" y="424"/>
                    </a:cubicBezTo>
                    <a:cubicBezTo>
                      <a:pt x="260" y="425"/>
                      <a:pt x="262" y="423"/>
                      <a:pt x="261" y="423"/>
                    </a:cubicBezTo>
                    <a:cubicBezTo>
                      <a:pt x="263" y="423"/>
                      <a:pt x="264" y="428"/>
                      <a:pt x="265" y="424"/>
                    </a:cubicBezTo>
                    <a:cubicBezTo>
                      <a:pt x="269" y="424"/>
                      <a:pt x="264" y="433"/>
                      <a:pt x="270" y="430"/>
                    </a:cubicBezTo>
                    <a:cubicBezTo>
                      <a:pt x="270" y="434"/>
                      <a:pt x="262" y="431"/>
                      <a:pt x="259" y="432"/>
                    </a:cubicBezTo>
                    <a:cubicBezTo>
                      <a:pt x="260" y="434"/>
                      <a:pt x="262" y="433"/>
                      <a:pt x="263" y="436"/>
                    </a:cubicBezTo>
                    <a:cubicBezTo>
                      <a:pt x="264" y="439"/>
                      <a:pt x="260" y="445"/>
                      <a:pt x="263" y="445"/>
                    </a:cubicBezTo>
                    <a:cubicBezTo>
                      <a:pt x="261" y="448"/>
                      <a:pt x="257" y="448"/>
                      <a:pt x="253" y="449"/>
                    </a:cubicBezTo>
                    <a:cubicBezTo>
                      <a:pt x="256" y="448"/>
                      <a:pt x="254" y="441"/>
                      <a:pt x="257" y="441"/>
                    </a:cubicBezTo>
                    <a:cubicBezTo>
                      <a:pt x="256" y="440"/>
                      <a:pt x="256" y="436"/>
                      <a:pt x="253" y="436"/>
                    </a:cubicBezTo>
                    <a:cubicBezTo>
                      <a:pt x="251" y="435"/>
                      <a:pt x="255" y="433"/>
                      <a:pt x="250" y="430"/>
                    </a:cubicBezTo>
                    <a:cubicBezTo>
                      <a:pt x="248" y="429"/>
                      <a:pt x="244" y="429"/>
                      <a:pt x="244" y="424"/>
                    </a:cubicBezTo>
                    <a:cubicBezTo>
                      <a:pt x="236" y="426"/>
                      <a:pt x="235" y="421"/>
                      <a:pt x="229" y="421"/>
                    </a:cubicBezTo>
                    <a:cubicBezTo>
                      <a:pt x="228" y="416"/>
                      <a:pt x="225" y="414"/>
                      <a:pt x="222" y="410"/>
                    </a:cubicBezTo>
                    <a:cubicBezTo>
                      <a:pt x="221" y="408"/>
                      <a:pt x="220" y="410"/>
                      <a:pt x="220" y="408"/>
                    </a:cubicBezTo>
                    <a:cubicBezTo>
                      <a:pt x="220" y="405"/>
                      <a:pt x="217" y="407"/>
                      <a:pt x="216" y="406"/>
                    </a:cubicBezTo>
                    <a:cubicBezTo>
                      <a:pt x="216" y="405"/>
                      <a:pt x="217" y="402"/>
                      <a:pt x="216" y="402"/>
                    </a:cubicBezTo>
                    <a:cubicBezTo>
                      <a:pt x="214" y="401"/>
                      <a:pt x="211" y="403"/>
                      <a:pt x="209" y="402"/>
                    </a:cubicBezTo>
                    <a:cubicBezTo>
                      <a:pt x="208" y="401"/>
                      <a:pt x="212" y="400"/>
                      <a:pt x="213" y="400"/>
                    </a:cubicBezTo>
                    <a:cubicBezTo>
                      <a:pt x="210" y="396"/>
                      <a:pt x="199" y="396"/>
                      <a:pt x="194" y="398"/>
                    </a:cubicBezTo>
                    <a:cubicBezTo>
                      <a:pt x="193" y="400"/>
                      <a:pt x="197" y="401"/>
                      <a:pt x="198" y="400"/>
                    </a:cubicBezTo>
                    <a:cubicBezTo>
                      <a:pt x="196" y="403"/>
                      <a:pt x="195" y="401"/>
                      <a:pt x="192" y="402"/>
                    </a:cubicBezTo>
                    <a:cubicBezTo>
                      <a:pt x="188" y="404"/>
                      <a:pt x="188" y="410"/>
                      <a:pt x="185" y="410"/>
                    </a:cubicBezTo>
                    <a:cubicBezTo>
                      <a:pt x="177" y="409"/>
                      <a:pt x="175" y="403"/>
                      <a:pt x="166" y="404"/>
                    </a:cubicBezTo>
                    <a:cubicBezTo>
                      <a:pt x="163" y="405"/>
                      <a:pt x="164" y="410"/>
                      <a:pt x="158" y="408"/>
                    </a:cubicBezTo>
                    <a:cubicBezTo>
                      <a:pt x="158" y="412"/>
                      <a:pt x="158" y="416"/>
                      <a:pt x="158" y="421"/>
                    </a:cubicBezTo>
                    <a:cubicBezTo>
                      <a:pt x="153" y="423"/>
                      <a:pt x="141" y="421"/>
                      <a:pt x="144" y="432"/>
                    </a:cubicBezTo>
                    <a:cubicBezTo>
                      <a:pt x="131" y="429"/>
                      <a:pt x="141" y="439"/>
                      <a:pt x="130" y="439"/>
                    </a:cubicBezTo>
                    <a:cubicBezTo>
                      <a:pt x="130" y="442"/>
                      <a:pt x="137" y="446"/>
                      <a:pt x="132" y="447"/>
                    </a:cubicBezTo>
                    <a:cubicBezTo>
                      <a:pt x="132" y="453"/>
                      <a:pt x="129" y="447"/>
                      <a:pt x="125" y="452"/>
                    </a:cubicBezTo>
                    <a:cubicBezTo>
                      <a:pt x="125" y="455"/>
                      <a:pt x="125" y="456"/>
                      <a:pt x="127" y="456"/>
                    </a:cubicBezTo>
                    <a:cubicBezTo>
                      <a:pt x="127" y="460"/>
                      <a:pt x="120" y="457"/>
                      <a:pt x="117" y="458"/>
                    </a:cubicBezTo>
                    <a:cubicBezTo>
                      <a:pt x="115" y="458"/>
                      <a:pt x="115" y="463"/>
                      <a:pt x="114" y="464"/>
                    </a:cubicBezTo>
                    <a:cubicBezTo>
                      <a:pt x="108" y="466"/>
                      <a:pt x="98" y="462"/>
                      <a:pt x="93" y="469"/>
                    </a:cubicBezTo>
                    <a:cubicBezTo>
                      <a:pt x="91" y="467"/>
                      <a:pt x="89" y="464"/>
                      <a:pt x="88" y="462"/>
                    </a:cubicBezTo>
                    <a:cubicBezTo>
                      <a:pt x="79" y="460"/>
                      <a:pt x="70" y="464"/>
                      <a:pt x="67" y="462"/>
                    </a:cubicBezTo>
                    <a:cubicBezTo>
                      <a:pt x="68" y="455"/>
                      <a:pt x="71" y="447"/>
                      <a:pt x="65" y="443"/>
                    </a:cubicBezTo>
                    <a:cubicBezTo>
                      <a:pt x="64" y="440"/>
                      <a:pt x="68" y="439"/>
                      <a:pt x="69" y="436"/>
                    </a:cubicBezTo>
                    <a:cubicBezTo>
                      <a:pt x="70" y="430"/>
                      <a:pt x="67" y="425"/>
                      <a:pt x="71" y="421"/>
                    </a:cubicBezTo>
                    <a:cubicBezTo>
                      <a:pt x="69" y="417"/>
                      <a:pt x="70" y="411"/>
                      <a:pt x="65" y="410"/>
                    </a:cubicBezTo>
                    <a:cubicBezTo>
                      <a:pt x="66" y="408"/>
                      <a:pt x="70" y="408"/>
                      <a:pt x="69" y="404"/>
                    </a:cubicBezTo>
                    <a:cubicBezTo>
                      <a:pt x="74" y="405"/>
                      <a:pt x="85" y="400"/>
                      <a:pt x="84" y="408"/>
                    </a:cubicBezTo>
                    <a:cubicBezTo>
                      <a:pt x="88" y="404"/>
                      <a:pt x="106" y="412"/>
                      <a:pt x="110" y="408"/>
                    </a:cubicBezTo>
                    <a:cubicBezTo>
                      <a:pt x="112" y="406"/>
                      <a:pt x="111" y="407"/>
                      <a:pt x="114" y="408"/>
                    </a:cubicBezTo>
                    <a:cubicBezTo>
                      <a:pt x="113" y="408"/>
                      <a:pt x="115" y="405"/>
                      <a:pt x="116" y="406"/>
                    </a:cubicBezTo>
                    <a:cubicBezTo>
                      <a:pt x="116" y="406"/>
                      <a:pt x="116" y="408"/>
                      <a:pt x="116" y="408"/>
                    </a:cubicBezTo>
                    <a:cubicBezTo>
                      <a:pt x="121" y="406"/>
                      <a:pt x="124" y="404"/>
                      <a:pt x="125" y="398"/>
                    </a:cubicBezTo>
                    <a:cubicBezTo>
                      <a:pt x="125" y="396"/>
                      <a:pt x="130" y="386"/>
                      <a:pt x="125" y="382"/>
                    </a:cubicBezTo>
                    <a:cubicBezTo>
                      <a:pt x="122" y="379"/>
                      <a:pt x="126" y="379"/>
                      <a:pt x="123" y="374"/>
                    </a:cubicBezTo>
                    <a:cubicBezTo>
                      <a:pt x="123" y="372"/>
                      <a:pt x="120" y="373"/>
                      <a:pt x="117" y="372"/>
                    </a:cubicBezTo>
                    <a:cubicBezTo>
                      <a:pt x="118" y="371"/>
                      <a:pt x="119" y="369"/>
                      <a:pt x="119" y="367"/>
                    </a:cubicBezTo>
                    <a:cubicBezTo>
                      <a:pt x="117" y="365"/>
                      <a:pt x="116" y="369"/>
                      <a:pt x="116" y="369"/>
                    </a:cubicBezTo>
                    <a:cubicBezTo>
                      <a:pt x="113" y="368"/>
                      <a:pt x="115" y="366"/>
                      <a:pt x="114" y="365"/>
                    </a:cubicBezTo>
                    <a:cubicBezTo>
                      <a:pt x="112" y="364"/>
                      <a:pt x="107" y="364"/>
                      <a:pt x="104" y="363"/>
                    </a:cubicBezTo>
                    <a:cubicBezTo>
                      <a:pt x="104" y="363"/>
                      <a:pt x="104" y="361"/>
                      <a:pt x="102" y="361"/>
                    </a:cubicBezTo>
                    <a:cubicBezTo>
                      <a:pt x="100" y="361"/>
                      <a:pt x="99" y="361"/>
                      <a:pt x="99" y="359"/>
                    </a:cubicBezTo>
                    <a:cubicBezTo>
                      <a:pt x="97" y="354"/>
                      <a:pt x="103" y="357"/>
                      <a:pt x="102" y="357"/>
                    </a:cubicBezTo>
                    <a:cubicBezTo>
                      <a:pt x="108" y="356"/>
                      <a:pt x="112" y="352"/>
                      <a:pt x="123" y="354"/>
                    </a:cubicBezTo>
                    <a:cubicBezTo>
                      <a:pt x="124" y="350"/>
                      <a:pt x="122" y="350"/>
                      <a:pt x="119" y="350"/>
                    </a:cubicBezTo>
                    <a:cubicBezTo>
                      <a:pt x="121" y="345"/>
                      <a:pt x="127" y="350"/>
                      <a:pt x="130" y="350"/>
                    </a:cubicBezTo>
                    <a:cubicBezTo>
                      <a:pt x="132" y="350"/>
                      <a:pt x="136" y="346"/>
                      <a:pt x="136" y="350"/>
                    </a:cubicBezTo>
                    <a:cubicBezTo>
                      <a:pt x="140" y="347"/>
                      <a:pt x="140" y="341"/>
                      <a:pt x="147" y="341"/>
                    </a:cubicBezTo>
                    <a:cubicBezTo>
                      <a:pt x="145" y="334"/>
                      <a:pt x="152" y="337"/>
                      <a:pt x="151" y="331"/>
                    </a:cubicBezTo>
                    <a:cubicBezTo>
                      <a:pt x="155" y="331"/>
                      <a:pt x="158" y="331"/>
                      <a:pt x="162" y="331"/>
                    </a:cubicBezTo>
                    <a:cubicBezTo>
                      <a:pt x="162" y="329"/>
                      <a:pt x="160" y="330"/>
                      <a:pt x="158" y="329"/>
                    </a:cubicBezTo>
                    <a:cubicBezTo>
                      <a:pt x="159" y="326"/>
                      <a:pt x="164" y="328"/>
                      <a:pt x="162" y="322"/>
                    </a:cubicBezTo>
                    <a:cubicBezTo>
                      <a:pt x="167" y="322"/>
                      <a:pt x="166" y="325"/>
                      <a:pt x="170" y="322"/>
                    </a:cubicBezTo>
                    <a:cubicBezTo>
                      <a:pt x="165" y="312"/>
                      <a:pt x="173" y="316"/>
                      <a:pt x="173" y="307"/>
                    </a:cubicBezTo>
                    <a:cubicBezTo>
                      <a:pt x="176" y="307"/>
                      <a:pt x="178" y="308"/>
                      <a:pt x="181" y="307"/>
                    </a:cubicBezTo>
                    <a:cubicBezTo>
                      <a:pt x="183" y="306"/>
                      <a:pt x="183" y="304"/>
                      <a:pt x="185" y="303"/>
                    </a:cubicBezTo>
                    <a:cubicBezTo>
                      <a:pt x="187" y="302"/>
                      <a:pt x="186" y="305"/>
                      <a:pt x="186" y="305"/>
                    </a:cubicBezTo>
                    <a:cubicBezTo>
                      <a:pt x="189" y="306"/>
                      <a:pt x="188" y="303"/>
                      <a:pt x="188" y="303"/>
                    </a:cubicBezTo>
                    <a:cubicBezTo>
                      <a:pt x="190" y="303"/>
                      <a:pt x="194" y="304"/>
                      <a:pt x="196" y="303"/>
                    </a:cubicBezTo>
                    <a:cubicBezTo>
                      <a:pt x="198" y="303"/>
                      <a:pt x="199" y="297"/>
                      <a:pt x="203" y="300"/>
                    </a:cubicBezTo>
                    <a:cubicBezTo>
                      <a:pt x="203" y="295"/>
                      <a:pt x="197" y="296"/>
                      <a:pt x="198" y="290"/>
                    </a:cubicBezTo>
                    <a:cubicBezTo>
                      <a:pt x="203" y="289"/>
                      <a:pt x="200" y="288"/>
                      <a:pt x="199" y="281"/>
                    </a:cubicBezTo>
                    <a:cubicBezTo>
                      <a:pt x="199" y="276"/>
                      <a:pt x="202" y="273"/>
                      <a:pt x="201" y="268"/>
                    </a:cubicBezTo>
                    <a:cubicBezTo>
                      <a:pt x="204" y="268"/>
                      <a:pt x="206" y="268"/>
                      <a:pt x="209" y="268"/>
                    </a:cubicBezTo>
                    <a:cubicBezTo>
                      <a:pt x="214" y="268"/>
                      <a:pt x="204" y="263"/>
                      <a:pt x="213" y="264"/>
                    </a:cubicBezTo>
                    <a:cubicBezTo>
                      <a:pt x="213" y="266"/>
                      <a:pt x="215" y="266"/>
                      <a:pt x="216" y="266"/>
                    </a:cubicBezTo>
                    <a:cubicBezTo>
                      <a:pt x="213" y="270"/>
                      <a:pt x="213" y="266"/>
                      <a:pt x="214" y="272"/>
                    </a:cubicBezTo>
                    <a:cubicBezTo>
                      <a:pt x="215" y="275"/>
                      <a:pt x="214" y="278"/>
                      <a:pt x="218" y="277"/>
                    </a:cubicBezTo>
                    <a:cubicBezTo>
                      <a:pt x="218" y="280"/>
                      <a:pt x="218" y="282"/>
                      <a:pt x="216" y="283"/>
                    </a:cubicBezTo>
                    <a:cubicBezTo>
                      <a:pt x="216" y="286"/>
                      <a:pt x="224" y="280"/>
                      <a:pt x="227" y="285"/>
                    </a:cubicBezTo>
                    <a:cubicBezTo>
                      <a:pt x="226" y="290"/>
                      <a:pt x="215" y="286"/>
                      <a:pt x="214" y="292"/>
                    </a:cubicBezTo>
                    <a:cubicBezTo>
                      <a:pt x="213" y="296"/>
                      <a:pt x="219" y="297"/>
                      <a:pt x="220" y="298"/>
                    </a:cubicBezTo>
                    <a:cubicBezTo>
                      <a:pt x="222" y="299"/>
                      <a:pt x="222" y="302"/>
                      <a:pt x="226" y="301"/>
                    </a:cubicBezTo>
                    <a:cubicBezTo>
                      <a:pt x="224" y="298"/>
                      <a:pt x="219" y="298"/>
                      <a:pt x="227" y="298"/>
                    </a:cubicBezTo>
                    <a:cubicBezTo>
                      <a:pt x="230" y="298"/>
                      <a:pt x="233" y="297"/>
                      <a:pt x="235" y="298"/>
                    </a:cubicBezTo>
                    <a:cubicBezTo>
                      <a:pt x="238" y="298"/>
                      <a:pt x="239" y="300"/>
                      <a:pt x="242" y="300"/>
                    </a:cubicBezTo>
                    <a:cubicBezTo>
                      <a:pt x="247" y="300"/>
                      <a:pt x="248" y="296"/>
                      <a:pt x="253" y="298"/>
                    </a:cubicBezTo>
                    <a:cubicBezTo>
                      <a:pt x="254" y="298"/>
                      <a:pt x="260" y="301"/>
                      <a:pt x="263" y="298"/>
                    </a:cubicBezTo>
                    <a:cubicBezTo>
                      <a:pt x="263" y="298"/>
                      <a:pt x="263" y="296"/>
                      <a:pt x="263" y="296"/>
                    </a:cubicBezTo>
                    <a:cubicBezTo>
                      <a:pt x="268" y="294"/>
                      <a:pt x="274" y="296"/>
                      <a:pt x="276" y="292"/>
                    </a:cubicBezTo>
                    <a:cubicBezTo>
                      <a:pt x="283" y="300"/>
                      <a:pt x="288" y="286"/>
                      <a:pt x="293" y="290"/>
                    </a:cubicBezTo>
                    <a:cubicBezTo>
                      <a:pt x="293" y="288"/>
                      <a:pt x="293" y="285"/>
                      <a:pt x="293" y="283"/>
                    </a:cubicBezTo>
                    <a:cubicBezTo>
                      <a:pt x="296" y="284"/>
                      <a:pt x="296" y="281"/>
                      <a:pt x="296" y="279"/>
                    </a:cubicBezTo>
                    <a:cubicBezTo>
                      <a:pt x="296" y="279"/>
                      <a:pt x="298" y="274"/>
                      <a:pt x="298" y="273"/>
                    </a:cubicBezTo>
                    <a:cubicBezTo>
                      <a:pt x="300" y="272"/>
                      <a:pt x="298" y="272"/>
                      <a:pt x="298" y="268"/>
                    </a:cubicBezTo>
                    <a:cubicBezTo>
                      <a:pt x="302" y="268"/>
                      <a:pt x="305" y="267"/>
                      <a:pt x="306" y="264"/>
                    </a:cubicBezTo>
                    <a:cubicBezTo>
                      <a:pt x="308" y="264"/>
                      <a:pt x="307" y="266"/>
                      <a:pt x="308" y="268"/>
                    </a:cubicBezTo>
                    <a:cubicBezTo>
                      <a:pt x="309" y="266"/>
                      <a:pt x="312" y="266"/>
                      <a:pt x="315" y="266"/>
                    </a:cubicBezTo>
                    <a:cubicBezTo>
                      <a:pt x="317" y="266"/>
                      <a:pt x="316" y="262"/>
                      <a:pt x="319" y="262"/>
                    </a:cubicBezTo>
                    <a:cubicBezTo>
                      <a:pt x="319" y="258"/>
                      <a:pt x="318" y="255"/>
                      <a:pt x="315" y="255"/>
                    </a:cubicBezTo>
                    <a:cubicBezTo>
                      <a:pt x="316" y="253"/>
                      <a:pt x="317" y="251"/>
                      <a:pt x="317" y="247"/>
                    </a:cubicBezTo>
                    <a:cubicBezTo>
                      <a:pt x="321" y="248"/>
                      <a:pt x="323" y="247"/>
                      <a:pt x="322" y="244"/>
                    </a:cubicBezTo>
                    <a:cubicBezTo>
                      <a:pt x="327" y="248"/>
                      <a:pt x="328" y="241"/>
                      <a:pt x="335" y="244"/>
                    </a:cubicBezTo>
                    <a:cubicBezTo>
                      <a:pt x="336" y="244"/>
                      <a:pt x="338" y="246"/>
                      <a:pt x="337" y="246"/>
                    </a:cubicBezTo>
                    <a:cubicBezTo>
                      <a:pt x="339" y="246"/>
                      <a:pt x="339" y="244"/>
                      <a:pt x="341" y="244"/>
                    </a:cubicBezTo>
                    <a:cubicBezTo>
                      <a:pt x="343" y="243"/>
                      <a:pt x="345" y="245"/>
                      <a:pt x="345" y="246"/>
                    </a:cubicBezTo>
                    <a:cubicBezTo>
                      <a:pt x="347" y="245"/>
                      <a:pt x="345" y="243"/>
                      <a:pt x="347" y="242"/>
                    </a:cubicBezTo>
                    <a:cubicBezTo>
                      <a:pt x="348" y="241"/>
                      <a:pt x="350" y="242"/>
                      <a:pt x="350" y="242"/>
                    </a:cubicBezTo>
                    <a:cubicBezTo>
                      <a:pt x="353" y="240"/>
                      <a:pt x="353" y="236"/>
                      <a:pt x="358" y="238"/>
                    </a:cubicBezTo>
                    <a:cubicBezTo>
                      <a:pt x="355" y="236"/>
                      <a:pt x="357" y="229"/>
                      <a:pt x="352" y="229"/>
                    </a:cubicBezTo>
                    <a:cubicBezTo>
                      <a:pt x="349" y="226"/>
                      <a:pt x="349" y="232"/>
                      <a:pt x="349" y="232"/>
                    </a:cubicBezTo>
                    <a:cubicBezTo>
                      <a:pt x="347" y="233"/>
                      <a:pt x="346" y="230"/>
                      <a:pt x="345" y="231"/>
                    </a:cubicBezTo>
                    <a:cubicBezTo>
                      <a:pt x="344" y="231"/>
                      <a:pt x="342" y="232"/>
                      <a:pt x="343" y="232"/>
                    </a:cubicBezTo>
                    <a:cubicBezTo>
                      <a:pt x="341" y="232"/>
                      <a:pt x="341" y="230"/>
                      <a:pt x="339" y="231"/>
                    </a:cubicBezTo>
                    <a:cubicBezTo>
                      <a:pt x="336" y="231"/>
                      <a:pt x="334" y="234"/>
                      <a:pt x="330" y="232"/>
                    </a:cubicBezTo>
                    <a:cubicBezTo>
                      <a:pt x="328" y="232"/>
                      <a:pt x="328" y="235"/>
                      <a:pt x="328" y="236"/>
                    </a:cubicBezTo>
                    <a:cubicBezTo>
                      <a:pt x="320" y="235"/>
                      <a:pt x="312" y="237"/>
                      <a:pt x="306" y="234"/>
                    </a:cubicBezTo>
                    <a:cubicBezTo>
                      <a:pt x="305" y="234"/>
                      <a:pt x="306" y="231"/>
                      <a:pt x="306" y="231"/>
                    </a:cubicBezTo>
                    <a:cubicBezTo>
                      <a:pt x="304" y="229"/>
                      <a:pt x="299" y="231"/>
                      <a:pt x="298" y="229"/>
                    </a:cubicBezTo>
                    <a:cubicBezTo>
                      <a:pt x="303" y="218"/>
                      <a:pt x="300" y="213"/>
                      <a:pt x="298" y="201"/>
                    </a:cubicBezTo>
                    <a:cubicBezTo>
                      <a:pt x="303" y="200"/>
                      <a:pt x="311" y="193"/>
                      <a:pt x="313" y="197"/>
                    </a:cubicBezTo>
                    <a:cubicBezTo>
                      <a:pt x="316" y="195"/>
                      <a:pt x="313" y="194"/>
                      <a:pt x="315" y="190"/>
                    </a:cubicBezTo>
                    <a:cubicBezTo>
                      <a:pt x="321" y="190"/>
                      <a:pt x="321" y="179"/>
                      <a:pt x="322" y="177"/>
                    </a:cubicBezTo>
                    <a:cubicBezTo>
                      <a:pt x="323" y="176"/>
                      <a:pt x="326" y="177"/>
                      <a:pt x="326" y="177"/>
                    </a:cubicBezTo>
                    <a:cubicBezTo>
                      <a:pt x="326" y="173"/>
                      <a:pt x="319" y="171"/>
                      <a:pt x="322" y="167"/>
                    </a:cubicBezTo>
                    <a:cubicBezTo>
                      <a:pt x="320" y="169"/>
                      <a:pt x="315" y="167"/>
                      <a:pt x="311" y="167"/>
                    </a:cubicBezTo>
                    <a:cubicBezTo>
                      <a:pt x="307" y="168"/>
                      <a:pt x="303" y="172"/>
                      <a:pt x="298" y="171"/>
                    </a:cubicBezTo>
                    <a:cubicBezTo>
                      <a:pt x="295" y="168"/>
                      <a:pt x="295" y="182"/>
                      <a:pt x="296" y="178"/>
                    </a:cubicBezTo>
                    <a:cubicBezTo>
                      <a:pt x="295" y="182"/>
                      <a:pt x="294" y="177"/>
                      <a:pt x="293" y="178"/>
                    </a:cubicBezTo>
                    <a:cubicBezTo>
                      <a:pt x="291" y="180"/>
                      <a:pt x="294" y="184"/>
                      <a:pt x="293" y="186"/>
                    </a:cubicBezTo>
                    <a:cubicBezTo>
                      <a:pt x="292" y="187"/>
                      <a:pt x="288" y="191"/>
                      <a:pt x="285" y="193"/>
                    </a:cubicBezTo>
                    <a:cubicBezTo>
                      <a:pt x="280" y="199"/>
                      <a:pt x="280" y="203"/>
                      <a:pt x="272" y="203"/>
                    </a:cubicBezTo>
                    <a:cubicBezTo>
                      <a:pt x="272" y="205"/>
                      <a:pt x="275" y="208"/>
                      <a:pt x="272" y="208"/>
                    </a:cubicBezTo>
                    <a:cubicBezTo>
                      <a:pt x="270" y="208"/>
                      <a:pt x="272" y="211"/>
                      <a:pt x="270" y="212"/>
                    </a:cubicBezTo>
                    <a:cubicBezTo>
                      <a:pt x="270" y="212"/>
                      <a:pt x="267" y="211"/>
                      <a:pt x="267" y="212"/>
                    </a:cubicBezTo>
                    <a:cubicBezTo>
                      <a:pt x="266" y="213"/>
                      <a:pt x="267" y="215"/>
                      <a:pt x="267" y="216"/>
                    </a:cubicBezTo>
                    <a:cubicBezTo>
                      <a:pt x="266" y="216"/>
                      <a:pt x="265" y="215"/>
                      <a:pt x="265" y="216"/>
                    </a:cubicBezTo>
                    <a:cubicBezTo>
                      <a:pt x="264" y="218"/>
                      <a:pt x="266" y="223"/>
                      <a:pt x="263" y="223"/>
                    </a:cubicBezTo>
                    <a:cubicBezTo>
                      <a:pt x="264" y="225"/>
                      <a:pt x="268" y="226"/>
                      <a:pt x="265" y="227"/>
                    </a:cubicBezTo>
                    <a:cubicBezTo>
                      <a:pt x="267" y="229"/>
                      <a:pt x="269" y="232"/>
                      <a:pt x="274" y="232"/>
                    </a:cubicBezTo>
                    <a:cubicBezTo>
                      <a:pt x="274" y="236"/>
                      <a:pt x="275" y="237"/>
                      <a:pt x="278" y="238"/>
                    </a:cubicBezTo>
                    <a:cubicBezTo>
                      <a:pt x="276" y="240"/>
                      <a:pt x="275" y="240"/>
                      <a:pt x="274" y="242"/>
                    </a:cubicBezTo>
                    <a:cubicBezTo>
                      <a:pt x="273" y="244"/>
                      <a:pt x="274" y="246"/>
                      <a:pt x="272" y="247"/>
                    </a:cubicBezTo>
                    <a:cubicBezTo>
                      <a:pt x="270" y="249"/>
                      <a:pt x="268" y="249"/>
                      <a:pt x="265" y="249"/>
                    </a:cubicBezTo>
                    <a:cubicBezTo>
                      <a:pt x="264" y="257"/>
                      <a:pt x="257" y="259"/>
                      <a:pt x="259" y="270"/>
                    </a:cubicBezTo>
                    <a:cubicBezTo>
                      <a:pt x="252" y="267"/>
                      <a:pt x="253" y="279"/>
                      <a:pt x="248" y="279"/>
                    </a:cubicBezTo>
                    <a:cubicBezTo>
                      <a:pt x="247" y="279"/>
                      <a:pt x="247" y="279"/>
                      <a:pt x="246" y="279"/>
                    </a:cubicBezTo>
                    <a:cubicBezTo>
                      <a:pt x="244" y="280"/>
                      <a:pt x="245" y="282"/>
                      <a:pt x="244" y="283"/>
                    </a:cubicBezTo>
                    <a:cubicBezTo>
                      <a:pt x="241" y="284"/>
                      <a:pt x="237" y="280"/>
                      <a:pt x="235" y="285"/>
                    </a:cubicBezTo>
                    <a:cubicBezTo>
                      <a:pt x="231" y="284"/>
                      <a:pt x="234" y="277"/>
                      <a:pt x="233" y="273"/>
                    </a:cubicBezTo>
                    <a:cubicBezTo>
                      <a:pt x="231" y="272"/>
                      <a:pt x="232" y="268"/>
                      <a:pt x="229" y="268"/>
                    </a:cubicBezTo>
                    <a:cubicBezTo>
                      <a:pt x="224" y="268"/>
                      <a:pt x="231" y="262"/>
                      <a:pt x="224" y="262"/>
                    </a:cubicBezTo>
                    <a:cubicBezTo>
                      <a:pt x="227" y="258"/>
                      <a:pt x="220" y="257"/>
                      <a:pt x="220" y="255"/>
                    </a:cubicBezTo>
                    <a:cubicBezTo>
                      <a:pt x="220" y="254"/>
                      <a:pt x="222" y="253"/>
                      <a:pt x="222" y="251"/>
                    </a:cubicBezTo>
                    <a:cubicBezTo>
                      <a:pt x="221" y="246"/>
                      <a:pt x="217" y="243"/>
                      <a:pt x="213" y="240"/>
                    </a:cubicBezTo>
                    <a:cubicBezTo>
                      <a:pt x="207" y="242"/>
                      <a:pt x="209" y="251"/>
                      <a:pt x="199" y="249"/>
                    </a:cubicBezTo>
                    <a:cubicBezTo>
                      <a:pt x="200" y="251"/>
                      <a:pt x="202" y="251"/>
                      <a:pt x="203" y="251"/>
                    </a:cubicBezTo>
                    <a:cubicBezTo>
                      <a:pt x="203" y="253"/>
                      <a:pt x="201" y="253"/>
                      <a:pt x="199" y="253"/>
                    </a:cubicBezTo>
                    <a:cubicBezTo>
                      <a:pt x="196" y="253"/>
                      <a:pt x="198" y="259"/>
                      <a:pt x="194" y="259"/>
                    </a:cubicBezTo>
                    <a:cubicBezTo>
                      <a:pt x="185" y="260"/>
                      <a:pt x="188" y="251"/>
                      <a:pt x="179" y="253"/>
                    </a:cubicBezTo>
                    <a:cubicBezTo>
                      <a:pt x="179" y="251"/>
                      <a:pt x="181" y="252"/>
                      <a:pt x="183" y="251"/>
                    </a:cubicBezTo>
                    <a:cubicBezTo>
                      <a:pt x="185" y="246"/>
                      <a:pt x="178" y="242"/>
                      <a:pt x="183" y="240"/>
                    </a:cubicBezTo>
                    <a:cubicBezTo>
                      <a:pt x="181" y="238"/>
                      <a:pt x="179" y="237"/>
                      <a:pt x="177" y="236"/>
                    </a:cubicBezTo>
                    <a:cubicBezTo>
                      <a:pt x="176" y="234"/>
                      <a:pt x="179" y="233"/>
                      <a:pt x="179" y="232"/>
                    </a:cubicBezTo>
                    <a:cubicBezTo>
                      <a:pt x="179" y="231"/>
                      <a:pt x="175" y="229"/>
                      <a:pt x="175" y="229"/>
                    </a:cubicBezTo>
                    <a:cubicBezTo>
                      <a:pt x="175" y="227"/>
                      <a:pt x="178" y="216"/>
                      <a:pt x="175" y="223"/>
                    </a:cubicBezTo>
                    <a:cubicBezTo>
                      <a:pt x="172" y="222"/>
                      <a:pt x="174" y="219"/>
                      <a:pt x="177" y="219"/>
                    </a:cubicBezTo>
                    <a:cubicBezTo>
                      <a:pt x="173" y="213"/>
                      <a:pt x="183" y="211"/>
                      <a:pt x="179" y="210"/>
                    </a:cubicBezTo>
                    <a:cubicBezTo>
                      <a:pt x="179" y="207"/>
                      <a:pt x="184" y="209"/>
                      <a:pt x="185" y="206"/>
                    </a:cubicBezTo>
                    <a:cubicBezTo>
                      <a:pt x="185" y="204"/>
                      <a:pt x="187" y="206"/>
                      <a:pt x="186" y="206"/>
                    </a:cubicBezTo>
                    <a:cubicBezTo>
                      <a:pt x="188" y="205"/>
                      <a:pt x="188" y="203"/>
                      <a:pt x="190" y="203"/>
                    </a:cubicBezTo>
                    <a:cubicBezTo>
                      <a:pt x="192" y="202"/>
                      <a:pt x="192" y="199"/>
                      <a:pt x="192" y="197"/>
                    </a:cubicBezTo>
                    <a:cubicBezTo>
                      <a:pt x="196" y="198"/>
                      <a:pt x="198" y="197"/>
                      <a:pt x="198" y="193"/>
                    </a:cubicBezTo>
                    <a:cubicBezTo>
                      <a:pt x="203" y="192"/>
                      <a:pt x="200" y="200"/>
                      <a:pt x="207" y="197"/>
                    </a:cubicBezTo>
                    <a:cubicBezTo>
                      <a:pt x="207" y="195"/>
                      <a:pt x="205" y="196"/>
                      <a:pt x="203" y="195"/>
                    </a:cubicBezTo>
                    <a:cubicBezTo>
                      <a:pt x="208" y="191"/>
                      <a:pt x="214" y="193"/>
                      <a:pt x="218" y="188"/>
                    </a:cubicBezTo>
                    <a:cubicBezTo>
                      <a:pt x="219" y="187"/>
                      <a:pt x="217" y="185"/>
                      <a:pt x="218" y="184"/>
                    </a:cubicBezTo>
                    <a:cubicBezTo>
                      <a:pt x="219" y="183"/>
                      <a:pt x="221" y="185"/>
                      <a:pt x="222" y="184"/>
                    </a:cubicBezTo>
                    <a:cubicBezTo>
                      <a:pt x="223" y="183"/>
                      <a:pt x="221" y="180"/>
                      <a:pt x="222" y="178"/>
                    </a:cubicBezTo>
                    <a:cubicBezTo>
                      <a:pt x="222" y="177"/>
                      <a:pt x="227" y="176"/>
                      <a:pt x="227" y="175"/>
                    </a:cubicBezTo>
                    <a:cubicBezTo>
                      <a:pt x="228" y="173"/>
                      <a:pt x="226" y="169"/>
                      <a:pt x="227" y="167"/>
                    </a:cubicBezTo>
                    <a:cubicBezTo>
                      <a:pt x="228" y="167"/>
                      <a:pt x="230" y="170"/>
                      <a:pt x="231" y="169"/>
                    </a:cubicBezTo>
                    <a:cubicBezTo>
                      <a:pt x="229" y="170"/>
                      <a:pt x="234" y="160"/>
                      <a:pt x="233" y="160"/>
                    </a:cubicBezTo>
                    <a:cubicBezTo>
                      <a:pt x="237" y="164"/>
                      <a:pt x="238" y="157"/>
                      <a:pt x="242" y="156"/>
                    </a:cubicBezTo>
                    <a:cubicBezTo>
                      <a:pt x="242" y="153"/>
                      <a:pt x="245" y="151"/>
                      <a:pt x="242" y="150"/>
                    </a:cubicBezTo>
                    <a:cubicBezTo>
                      <a:pt x="243" y="147"/>
                      <a:pt x="248" y="150"/>
                      <a:pt x="248" y="145"/>
                    </a:cubicBezTo>
                    <a:cubicBezTo>
                      <a:pt x="248" y="143"/>
                      <a:pt x="251" y="143"/>
                      <a:pt x="253" y="143"/>
                    </a:cubicBezTo>
                    <a:cubicBezTo>
                      <a:pt x="254" y="141"/>
                      <a:pt x="253" y="140"/>
                      <a:pt x="252" y="139"/>
                    </a:cubicBezTo>
                    <a:cubicBezTo>
                      <a:pt x="257" y="135"/>
                      <a:pt x="260" y="135"/>
                      <a:pt x="265" y="134"/>
                    </a:cubicBezTo>
                    <a:cubicBezTo>
                      <a:pt x="267" y="132"/>
                      <a:pt x="264" y="131"/>
                      <a:pt x="267" y="126"/>
                    </a:cubicBezTo>
                    <a:cubicBezTo>
                      <a:pt x="268" y="125"/>
                      <a:pt x="272" y="124"/>
                      <a:pt x="272" y="121"/>
                    </a:cubicBezTo>
                    <a:cubicBezTo>
                      <a:pt x="272" y="116"/>
                      <a:pt x="278" y="123"/>
                      <a:pt x="278" y="115"/>
                    </a:cubicBezTo>
                    <a:cubicBezTo>
                      <a:pt x="285" y="112"/>
                      <a:pt x="292" y="119"/>
                      <a:pt x="293" y="108"/>
                    </a:cubicBezTo>
                    <a:cubicBezTo>
                      <a:pt x="296" y="110"/>
                      <a:pt x="304" y="106"/>
                      <a:pt x="309" y="109"/>
                    </a:cubicBezTo>
                    <a:cubicBezTo>
                      <a:pt x="311" y="108"/>
                      <a:pt x="312" y="106"/>
                      <a:pt x="313" y="104"/>
                    </a:cubicBezTo>
                    <a:cubicBezTo>
                      <a:pt x="318" y="101"/>
                      <a:pt x="323" y="110"/>
                      <a:pt x="322" y="102"/>
                    </a:cubicBezTo>
                    <a:cubicBezTo>
                      <a:pt x="326" y="103"/>
                      <a:pt x="326" y="107"/>
                      <a:pt x="330" y="108"/>
                    </a:cubicBezTo>
                    <a:cubicBezTo>
                      <a:pt x="333" y="107"/>
                      <a:pt x="332" y="102"/>
                      <a:pt x="337" y="104"/>
                    </a:cubicBezTo>
                    <a:cubicBezTo>
                      <a:pt x="338" y="107"/>
                      <a:pt x="336" y="107"/>
                      <a:pt x="335" y="109"/>
                    </a:cubicBezTo>
                    <a:cubicBezTo>
                      <a:pt x="337" y="110"/>
                      <a:pt x="346" y="101"/>
                      <a:pt x="350" y="106"/>
                    </a:cubicBezTo>
                    <a:cubicBezTo>
                      <a:pt x="353" y="108"/>
                      <a:pt x="351" y="105"/>
                      <a:pt x="354" y="106"/>
                    </a:cubicBezTo>
                    <a:cubicBezTo>
                      <a:pt x="358" y="106"/>
                      <a:pt x="362" y="109"/>
                      <a:pt x="367" y="108"/>
                    </a:cubicBezTo>
                    <a:cubicBezTo>
                      <a:pt x="366" y="109"/>
                      <a:pt x="368" y="112"/>
                      <a:pt x="367" y="113"/>
                    </a:cubicBezTo>
                    <a:cubicBezTo>
                      <a:pt x="367" y="114"/>
                      <a:pt x="364" y="113"/>
                      <a:pt x="363" y="113"/>
                    </a:cubicBezTo>
                    <a:cubicBezTo>
                      <a:pt x="362" y="115"/>
                      <a:pt x="364" y="118"/>
                      <a:pt x="360" y="117"/>
                    </a:cubicBezTo>
                    <a:cubicBezTo>
                      <a:pt x="363" y="121"/>
                      <a:pt x="374" y="118"/>
                      <a:pt x="378" y="117"/>
                    </a:cubicBezTo>
                    <a:cubicBezTo>
                      <a:pt x="382" y="115"/>
                      <a:pt x="381" y="120"/>
                      <a:pt x="382" y="121"/>
                    </a:cubicBezTo>
                    <a:cubicBezTo>
                      <a:pt x="384" y="122"/>
                      <a:pt x="388" y="119"/>
                      <a:pt x="388" y="122"/>
                    </a:cubicBezTo>
                    <a:cubicBezTo>
                      <a:pt x="401" y="119"/>
                      <a:pt x="404" y="130"/>
                      <a:pt x="412" y="126"/>
                    </a:cubicBezTo>
                    <a:cubicBezTo>
                      <a:pt x="410" y="132"/>
                      <a:pt x="418" y="129"/>
                      <a:pt x="418" y="134"/>
                    </a:cubicBezTo>
                    <a:cubicBezTo>
                      <a:pt x="422" y="134"/>
                      <a:pt x="430" y="133"/>
                      <a:pt x="425" y="137"/>
                    </a:cubicBezTo>
                    <a:cubicBezTo>
                      <a:pt x="429" y="139"/>
                      <a:pt x="433" y="138"/>
                      <a:pt x="436" y="139"/>
                    </a:cubicBezTo>
                    <a:cubicBezTo>
                      <a:pt x="437" y="139"/>
                      <a:pt x="436" y="143"/>
                      <a:pt x="436" y="143"/>
                    </a:cubicBezTo>
                    <a:cubicBezTo>
                      <a:pt x="437" y="144"/>
                      <a:pt x="441" y="142"/>
                      <a:pt x="442" y="143"/>
                    </a:cubicBezTo>
                    <a:cubicBezTo>
                      <a:pt x="443" y="150"/>
                      <a:pt x="443" y="152"/>
                      <a:pt x="442" y="160"/>
                    </a:cubicBezTo>
                    <a:cubicBezTo>
                      <a:pt x="439" y="155"/>
                      <a:pt x="435" y="161"/>
                      <a:pt x="431" y="162"/>
                    </a:cubicBezTo>
                    <a:cubicBezTo>
                      <a:pt x="425" y="162"/>
                      <a:pt x="419" y="156"/>
                      <a:pt x="414" y="162"/>
                    </a:cubicBezTo>
                    <a:cubicBezTo>
                      <a:pt x="412" y="162"/>
                      <a:pt x="413" y="158"/>
                      <a:pt x="412" y="158"/>
                    </a:cubicBezTo>
                    <a:cubicBezTo>
                      <a:pt x="409" y="157"/>
                      <a:pt x="409" y="160"/>
                      <a:pt x="408" y="160"/>
                    </a:cubicBezTo>
                    <a:cubicBezTo>
                      <a:pt x="406" y="160"/>
                      <a:pt x="405" y="156"/>
                      <a:pt x="404" y="156"/>
                    </a:cubicBezTo>
                    <a:cubicBezTo>
                      <a:pt x="401" y="156"/>
                      <a:pt x="396" y="161"/>
                      <a:pt x="397" y="154"/>
                    </a:cubicBezTo>
                    <a:cubicBezTo>
                      <a:pt x="391" y="156"/>
                      <a:pt x="393" y="154"/>
                      <a:pt x="386" y="154"/>
                    </a:cubicBezTo>
                    <a:cubicBezTo>
                      <a:pt x="385" y="157"/>
                      <a:pt x="387" y="158"/>
                      <a:pt x="390" y="158"/>
                    </a:cubicBezTo>
                    <a:cubicBezTo>
                      <a:pt x="393" y="157"/>
                      <a:pt x="393" y="160"/>
                      <a:pt x="395" y="160"/>
                    </a:cubicBezTo>
                    <a:cubicBezTo>
                      <a:pt x="392" y="163"/>
                      <a:pt x="395" y="162"/>
                      <a:pt x="397" y="163"/>
                    </a:cubicBezTo>
                    <a:cubicBezTo>
                      <a:pt x="398" y="164"/>
                      <a:pt x="397" y="166"/>
                      <a:pt x="397" y="167"/>
                    </a:cubicBezTo>
                    <a:cubicBezTo>
                      <a:pt x="398" y="169"/>
                      <a:pt x="401" y="169"/>
                      <a:pt x="401" y="171"/>
                    </a:cubicBezTo>
                    <a:cubicBezTo>
                      <a:pt x="401" y="173"/>
                      <a:pt x="405" y="178"/>
                      <a:pt x="404" y="184"/>
                    </a:cubicBezTo>
                    <a:cubicBezTo>
                      <a:pt x="405" y="190"/>
                      <a:pt x="416" y="186"/>
                      <a:pt x="418" y="191"/>
                    </a:cubicBezTo>
                    <a:cubicBezTo>
                      <a:pt x="419" y="190"/>
                      <a:pt x="419" y="187"/>
                      <a:pt x="423" y="188"/>
                    </a:cubicBezTo>
                    <a:cubicBezTo>
                      <a:pt x="422" y="182"/>
                      <a:pt x="414" y="184"/>
                      <a:pt x="412" y="180"/>
                    </a:cubicBezTo>
                    <a:cubicBezTo>
                      <a:pt x="411" y="173"/>
                      <a:pt x="422" y="178"/>
                      <a:pt x="427" y="177"/>
                    </a:cubicBezTo>
                    <a:cubicBezTo>
                      <a:pt x="426" y="181"/>
                      <a:pt x="435" y="176"/>
                      <a:pt x="432" y="182"/>
                    </a:cubicBezTo>
                    <a:cubicBezTo>
                      <a:pt x="437" y="184"/>
                      <a:pt x="440" y="176"/>
                      <a:pt x="440" y="184"/>
                    </a:cubicBezTo>
                    <a:cubicBezTo>
                      <a:pt x="445" y="181"/>
                      <a:pt x="440" y="174"/>
                      <a:pt x="436" y="175"/>
                    </a:cubicBezTo>
                    <a:cubicBezTo>
                      <a:pt x="437" y="171"/>
                      <a:pt x="441" y="170"/>
                      <a:pt x="445" y="169"/>
                    </a:cubicBezTo>
                    <a:cubicBezTo>
                      <a:pt x="448" y="167"/>
                      <a:pt x="448" y="162"/>
                      <a:pt x="451" y="160"/>
                    </a:cubicBezTo>
                    <a:cubicBezTo>
                      <a:pt x="459" y="159"/>
                      <a:pt x="463" y="162"/>
                      <a:pt x="468" y="163"/>
                    </a:cubicBezTo>
                    <a:cubicBezTo>
                      <a:pt x="470" y="163"/>
                      <a:pt x="469" y="160"/>
                      <a:pt x="472" y="160"/>
                    </a:cubicBezTo>
                    <a:cubicBezTo>
                      <a:pt x="472" y="157"/>
                      <a:pt x="470" y="155"/>
                      <a:pt x="468" y="154"/>
                    </a:cubicBezTo>
                    <a:cubicBezTo>
                      <a:pt x="471" y="147"/>
                      <a:pt x="471" y="140"/>
                      <a:pt x="470" y="134"/>
                    </a:cubicBezTo>
                    <a:cubicBezTo>
                      <a:pt x="476" y="134"/>
                      <a:pt x="481" y="133"/>
                      <a:pt x="485" y="136"/>
                    </a:cubicBezTo>
                    <a:cubicBezTo>
                      <a:pt x="486" y="136"/>
                      <a:pt x="491" y="136"/>
                      <a:pt x="490" y="141"/>
                    </a:cubicBezTo>
                    <a:cubicBezTo>
                      <a:pt x="486" y="141"/>
                      <a:pt x="483" y="141"/>
                      <a:pt x="479" y="141"/>
                    </a:cubicBezTo>
                    <a:cubicBezTo>
                      <a:pt x="479" y="143"/>
                      <a:pt x="479" y="145"/>
                      <a:pt x="479" y="147"/>
                    </a:cubicBezTo>
                    <a:cubicBezTo>
                      <a:pt x="483" y="152"/>
                      <a:pt x="485" y="146"/>
                      <a:pt x="488" y="149"/>
                    </a:cubicBezTo>
                    <a:cubicBezTo>
                      <a:pt x="490" y="150"/>
                      <a:pt x="483" y="151"/>
                      <a:pt x="483" y="150"/>
                    </a:cubicBezTo>
                    <a:cubicBezTo>
                      <a:pt x="481" y="154"/>
                      <a:pt x="488" y="150"/>
                      <a:pt x="490" y="154"/>
                    </a:cubicBezTo>
                    <a:cubicBezTo>
                      <a:pt x="493" y="152"/>
                      <a:pt x="497" y="150"/>
                      <a:pt x="500" y="147"/>
                    </a:cubicBezTo>
                    <a:cubicBezTo>
                      <a:pt x="500" y="146"/>
                      <a:pt x="502" y="145"/>
                      <a:pt x="501" y="143"/>
                    </a:cubicBezTo>
                    <a:cubicBezTo>
                      <a:pt x="510" y="145"/>
                      <a:pt x="509" y="138"/>
                      <a:pt x="516" y="139"/>
                    </a:cubicBezTo>
                    <a:cubicBezTo>
                      <a:pt x="519" y="138"/>
                      <a:pt x="520" y="137"/>
                      <a:pt x="520" y="134"/>
                    </a:cubicBezTo>
                    <a:cubicBezTo>
                      <a:pt x="523" y="134"/>
                      <a:pt x="525" y="132"/>
                      <a:pt x="526" y="130"/>
                    </a:cubicBezTo>
                    <a:cubicBezTo>
                      <a:pt x="533" y="136"/>
                      <a:pt x="539" y="127"/>
                      <a:pt x="546" y="126"/>
                    </a:cubicBezTo>
                    <a:cubicBezTo>
                      <a:pt x="546" y="129"/>
                      <a:pt x="546" y="131"/>
                      <a:pt x="546" y="134"/>
                    </a:cubicBezTo>
                    <a:cubicBezTo>
                      <a:pt x="553" y="134"/>
                      <a:pt x="559" y="134"/>
                      <a:pt x="563" y="132"/>
                    </a:cubicBezTo>
                    <a:cubicBezTo>
                      <a:pt x="564" y="132"/>
                      <a:pt x="566" y="132"/>
                      <a:pt x="567" y="132"/>
                    </a:cubicBezTo>
                    <a:cubicBezTo>
                      <a:pt x="567" y="132"/>
                      <a:pt x="566" y="130"/>
                      <a:pt x="567" y="130"/>
                    </a:cubicBezTo>
                    <a:cubicBezTo>
                      <a:pt x="570" y="129"/>
                      <a:pt x="576" y="130"/>
                      <a:pt x="576" y="124"/>
                    </a:cubicBezTo>
                    <a:cubicBezTo>
                      <a:pt x="581" y="127"/>
                      <a:pt x="588" y="127"/>
                      <a:pt x="591" y="132"/>
                    </a:cubicBezTo>
                    <a:cubicBezTo>
                      <a:pt x="594" y="131"/>
                      <a:pt x="595" y="129"/>
                      <a:pt x="596" y="126"/>
                    </a:cubicBezTo>
                    <a:cubicBezTo>
                      <a:pt x="597" y="124"/>
                      <a:pt x="588" y="122"/>
                      <a:pt x="595" y="121"/>
                    </a:cubicBezTo>
                    <a:cubicBezTo>
                      <a:pt x="592" y="116"/>
                      <a:pt x="583" y="118"/>
                      <a:pt x="585" y="108"/>
                    </a:cubicBezTo>
                    <a:cubicBezTo>
                      <a:pt x="588" y="109"/>
                      <a:pt x="589" y="112"/>
                      <a:pt x="595" y="113"/>
                    </a:cubicBezTo>
                    <a:cubicBezTo>
                      <a:pt x="597" y="114"/>
                      <a:pt x="600" y="118"/>
                      <a:pt x="606" y="117"/>
                    </a:cubicBezTo>
                    <a:cubicBezTo>
                      <a:pt x="607" y="117"/>
                      <a:pt x="608" y="115"/>
                      <a:pt x="608" y="115"/>
                    </a:cubicBezTo>
                    <a:cubicBezTo>
                      <a:pt x="609" y="115"/>
                      <a:pt x="611" y="118"/>
                      <a:pt x="611" y="115"/>
                    </a:cubicBezTo>
                    <a:cubicBezTo>
                      <a:pt x="614" y="115"/>
                      <a:pt x="614" y="118"/>
                      <a:pt x="615" y="119"/>
                    </a:cubicBezTo>
                    <a:cubicBezTo>
                      <a:pt x="618" y="120"/>
                      <a:pt x="621" y="118"/>
                      <a:pt x="621" y="122"/>
                    </a:cubicBezTo>
                    <a:cubicBezTo>
                      <a:pt x="627" y="120"/>
                      <a:pt x="629" y="124"/>
                      <a:pt x="636" y="121"/>
                    </a:cubicBezTo>
                    <a:cubicBezTo>
                      <a:pt x="633" y="127"/>
                      <a:pt x="642" y="122"/>
                      <a:pt x="639" y="128"/>
                    </a:cubicBezTo>
                    <a:cubicBezTo>
                      <a:pt x="643" y="128"/>
                      <a:pt x="644" y="129"/>
                      <a:pt x="645" y="132"/>
                    </a:cubicBezTo>
                    <a:cubicBezTo>
                      <a:pt x="651" y="131"/>
                      <a:pt x="652" y="135"/>
                      <a:pt x="658" y="134"/>
                    </a:cubicBezTo>
                    <a:cubicBezTo>
                      <a:pt x="661" y="122"/>
                      <a:pt x="647" y="128"/>
                      <a:pt x="651" y="117"/>
                    </a:cubicBezTo>
                    <a:cubicBezTo>
                      <a:pt x="650" y="114"/>
                      <a:pt x="648" y="118"/>
                      <a:pt x="645" y="117"/>
                    </a:cubicBezTo>
                    <a:cubicBezTo>
                      <a:pt x="645" y="113"/>
                      <a:pt x="648" y="111"/>
                      <a:pt x="647" y="106"/>
                    </a:cubicBezTo>
                    <a:cubicBezTo>
                      <a:pt x="647" y="103"/>
                      <a:pt x="644" y="105"/>
                      <a:pt x="643" y="104"/>
                    </a:cubicBezTo>
                    <a:cubicBezTo>
                      <a:pt x="643" y="103"/>
                      <a:pt x="647" y="100"/>
                      <a:pt x="643" y="100"/>
                    </a:cubicBezTo>
                    <a:cubicBezTo>
                      <a:pt x="643" y="96"/>
                      <a:pt x="648" y="98"/>
                      <a:pt x="647" y="93"/>
                    </a:cubicBezTo>
                    <a:cubicBezTo>
                      <a:pt x="651" y="93"/>
                      <a:pt x="649" y="88"/>
                      <a:pt x="654" y="89"/>
                    </a:cubicBezTo>
                    <a:cubicBezTo>
                      <a:pt x="654" y="85"/>
                      <a:pt x="656" y="83"/>
                      <a:pt x="660" y="83"/>
                    </a:cubicBezTo>
                    <a:cubicBezTo>
                      <a:pt x="658" y="75"/>
                      <a:pt x="666" y="77"/>
                      <a:pt x="665" y="70"/>
                    </a:cubicBezTo>
                    <a:cubicBezTo>
                      <a:pt x="674" y="69"/>
                      <a:pt x="678" y="73"/>
                      <a:pt x="684" y="74"/>
                    </a:cubicBezTo>
                    <a:cubicBezTo>
                      <a:pt x="684" y="77"/>
                      <a:pt x="684" y="79"/>
                      <a:pt x="686" y="80"/>
                    </a:cubicBezTo>
                    <a:cubicBezTo>
                      <a:pt x="686" y="82"/>
                      <a:pt x="682" y="81"/>
                      <a:pt x="680" y="81"/>
                    </a:cubicBezTo>
                    <a:cubicBezTo>
                      <a:pt x="680" y="89"/>
                      <a:pt x="684" y="92"/>
                      <a:pt x="680" y="98"/>
                    </a:cubicBezTo>
                    <a:cubicBezTo>
                      <a:pt x="682" y="99"/>
                      <a:pt x="683" y="101"/>
                      <a:pt x="684" y="102"/>
                    </a:cubicBezTo>
                    <a:cubicBezTo>
                      <a:pt x="685" y="103"/>
                      <a:pt x="686" y="104"/>
                      <a:pt x="688" y="104"/>
                    </a:cubicBezTo>
                    <a:cubicBezTo>
                      <a:pt x="685" y="108"/>
                      <a:pt x="687" y="118"/>
                      <a:pt x="684" y="122"/>
                    </a:cubicBezTo>
                    <a:cubicBezTo>
                      <a:pt x="682" y="128"/>
                      <a:pt x="689" y="126"/>
                      <a:pt x="690" y="130"/>
                    </a:cubicBezTo>
                    <a:cubicBezTo>
                      <a:pt x="688" y="145"/>
                      <a:pt x="682" y="154"/>
                      <a:pt x="669" y="158"/>
                    </a:cubicBezTo>
                    <a:cubicBezTo>
                      <a:pt x="670" y="162"/>
                      <a:pt x="677" y="158"/>
                      <a:pt x="678" y="162"/>
                    </a:cubicBezTo>
                    <a:cubicBezTo>
                      <a:pt x="683" y="161"/>
                      <a:pt x="682" y="155"/>
                      <a:pt x="688" y="156"/>
                    </a:cubicBezTo>
                    <a:cubicBezTo>
                      <a:pt x="687" y="158"/>
                      <a:pt x="686" y="159"/>
                      <a:pt x="686" y="162"/>
                    </a:cubicBezTo>
                    <a:cubicBezTo>
                      <a:pt x="688" y="161"/>
                      <a:pt x="687" y="158"/>
                      <a:pt x="690" y="158"/>
                    </a:cubicBezTo>
                    <a:cubicBezTo>
                      <a:pt x="692" y="158"/>
                      <a:pt x="691" y="155"/>
                      <a:pt x="692" y="154"/>
                    </a:cubicBezTo>
                    <a:cubicBezTo>
                      <a:pt x="692" y="154"/>
                      <a:pt x="695" y="155"/>
                      <a:pt x="695" y="154"/>
                    </a:cubicBezTo>
                    <a:cubicBezTo>
                      <a:pt x="696" y="153"/>
                      <a:pt x="695" y="150"/>
                      <a:pt x="695" y="149"/>
                    </a:cubicBezTo>
                    <a:cubicBezTo>
                      <a:pt x="697" y="149"/>
                      <a:pt x="699" y="149"/>
                      <a:pt x="701" y="149"/>
                    </a:cubicBezTo>
                    <a:cubicBezTo>
                      <a:pt x="699" y="143"/>
                      <a:pt x="707" y="137"/>
                      <a:pt x="701" y="134"/>
                    </a:cubicBezTo>
                    <a:cubicBezTo>
                      <a:pt x="701" y="132"/>
                      <a:pt x="705" y="132"/>
                      <a:pt x="705" y="130"/>
                    </a:cubicBezTo>
                    <a:cubicBezTo>
                      <a:pt x="705" y="128"/>
                      <a:pt x="702" y="128"/>
                      <a:pt x="701" y="128"/>
                    </a:cubicBezTo>
                    <a:cubicBezTo>
                      <a:pt x="701" y="124"/>
                      <a:pt x="707" y="127"/>
                      <a:pt x="710" y="126"/>
                    </a:cubicBezTo>
                    <a:cubicBezTo>
                      <a:pt x="708" y="124"/>
                      <a:pt x="710" y="119"/>
                      <a:pt x="705" y="121"/>
                    </a:cubicBezTo>
                    <a:cubicBezTo>
                      <a:pt x="700" y="123"/>
                      <a:pt x="698" y="116"/>
                      <a:pt x="697" y="121"/>
                    </a:cubicBezTo>
                    <a:cubicBezTo>
                      <a:pt x="694" y="117"/>
                      <a:pt x="694" y="113"/>
                      <a:pt x="695" y="109"/>
                    </a:cubicBezTo>
                    <a:cubicBezTo>
                      <a:pt x="695" y="109"/>
                      <a:pt x="699" y="110"/>
                      <a:pt x="699" y="109"/>
                    </a:cubicBezTo>
                    <a:cubicBezTo>
                      <a:pt x="701" y="108"/>
                      <a:pt x="698" y="102"/>
                      <a:pt x="699" y="100"/>
                    </a:cubicBezTo>
                    <a:cubicBezTo>
                      <a:pt x="699" y="97"/>
                      <a:pt x="697" y="100"/>
                      <a:pt x="697" y="100"/>
                    </a:cubicBezTo>
                    <a:cubicBezTo>
                      <a:pt x="693" y="97"/>
                      <a:pt x="696" y="93"/>
                      <a:pt x="693" y="89"/>
                    </a:cubicBezTo>
                    <a:cubicBezTo>
                      <a:pt x="701" y="91"/>
                      <a:pt x="698" y="84"/>
                      <a:pt x="703" y="83"/>
                    </a:cubicBezTo>
                    <a:cubicBezTo>
                      <a:pt x="703" y="80"/>
                      <a:pt x="703" y="77"/>
                      <a:pt x="703" y="74"/>
                    </a:cubicBezTo>
                    <a:cubicBezTo>
                      <a:pt x="709" y="72"/>
                      <a:pt x="706" y="80"/>
                      <a:pt x="706" y="83"/>
                    </a:cubicBezTo>
                    <a:cubicBezTo>
                      <a:pt x="707" y="86"/>
                      <a:pt x="710" y="82"/>
                      <a:pt x="710" y="85"/>
                    </a:cubicBezTo>
                    <a:cubicBezTo>
                      <a:pt x="710" y="86"/>
                      <a:pt x="708" y="88"/>
                      <a:pt x="708" y="87"/>
                    </a:cubicBezTo>
                    <a:cubicBezTo>
                      <a:pt x="710" y="92"/>
                      <a:pt x="714" y="93"/>
                      <a:pt x="719" y="96"/>
                    </a:cubicBezTo>
                    <a:cubicBezTo>
                      <a:pt x="723" y="97"/>
                      <a:pt x="719" y="91"/>
                      <a:pt x="718" y="91"/>
                    </a:cubicBezTo>
                    <a:cubicBezTo>
                      <a:pt x="720" y="88"/>
                      <a:pt x="726" y="88"/>
                      <a:pt x="731" y="87"/>
                    </a:cubicBezTo>
                    <a:cubicBezTo>
                      <a:pt x="730" y="85"/>
                      <a:pt x="727" y="85"/>
                      <a:pt x="725" y="85"/>
                    </a:cubicBezTo>
                    <a:cubicBezTo>
                      <a:pt x="727" y="80"/>
                      <a:pt x="722" y="80"/>
                      <a:pt x="723" y="76"/>
                    </a:cubicBezTo>
                    <a:cubicBezTo>
                      <a:pt x="725" y="80"/>
                      <a:pt x="736" y="74"/>
                      <a:pt x="734" y="81"/>
                    </a:cubicBezTo>
                    <a:cubicBezTo>
                      <a:pt x="736" y="83"/>
                      <a:pt x="738" y="80"/>
                      <a:pt x="738" y="80"/>
                    </a:cubicBezTo>
                    <a:cubicBezTo>
                      <a:pt x="741" y="80"/>
                      <a:pt x="739" y="82"/>
                      <a:pt x="740" y="83"/>
                    </a:cubicBezTo>
                    <a:cubicBezTo>
                      <a:pt x="741" y="84"/>
                      <a:pt x="743" y="83"/>
                      <a:pt x="744" y="83"/>
                    </a:cubicBezTo>
                    <a:cubicBezTo>
                      <a:pt x="747" y="87"/>
                      <a:pt x="754" y="83"/>
                      <a:pt x="749" y="89"/>
                    </a:cubicBezTo>
                    <a:cubicBezTo>
                      <a:pt x="752" y="89"/>
                      <a:pt x="756" y="89"/>
                      <a:pt x="759" y="89"/>
                    </a:cubicBezTo>
                    <a:cubicBezTo>
                      <a:pt x="759" y="87"/>
                      <a:pt x="751" y="85"/>
                      <a:pt x="757" y="83"/>
                    </a:cubicBezTo>
                    <a:cubicBezTo>
                      <a:pt x="755" y="82"/>
                      <a:pt x="753" y="81"/>
                      <a:pt x="751" y="80"/>
                    </a:cubicBezTo>
                    <a:cubicBezTo>
                      <a:pt x="750" y="70"/>
                      <a:pt x="751" y="70"/>
                      <a:pt x="751" y="59"/>
                    </a:cubicBezTo>
                    <a:cubicBezTo>
                      <a:pt x="761" y="58"/>
                      <a:pt x="775" y="61"/>
                      <a:pt x="783" y="59"/>
                    </a:cubicBezTo>
                    <a:cubicBezTo>
                      <a:pt x="786" y="58"/>
                      <a:pt x="784" y="53"/>
                      <a:pt x="788" y="57"/>
                    </a:cubicBezTo>
                    <a:cubicBezTo>
                      <a:pt x="794" y="53"/>
                      <a:pt x="790" y="50"/>
                      <a:pt x="792" y="44"/>
                    </a:cubicBezTo>
                    <a:cubicBezTo>
                      <a:pt x="797" y="45"/>
                      <a:pt x="799" y="44"/>
                      <a:pt x="801" y="42"/>
                    </a:cubicBezTo>
                    <a:cubicBezTo>
                      <a:pt x="804" y="38"/>
                      <a:pt x="809" y="37"/>
                      <a:pt x="813" y="33"/>
                    </a:cubicBezTo>
                    <a:cubicBezTo>
                      <a:pt x="832" y="30"/>
                      <a:pt x="851" y="28"/>
                      <a:pt x="867" y="22"/>
                    </a:cubicBezTo>
                    <a:cubicBezTo>
                      <a:pt x="870" y="19"/>
                      <a:pt x="870" y="26"/>
                      <a:pt x="870" y="26"/>
                    </a:cubicBezTo>
                    <a:cubicBezTo>
                      <a:pt x="871" y="25"/>
                      <a:pt x="874" y="21"/>
                      <a:pt x="872" y="20"/>
                    </a:cubicBezTo>
                    <a:cubicBezTo>
                      <a:pt x="875" y="21"/>
                      <a:pt x="872" y="23"/>
                      <a:pt x="874" y="26"/>
                    </a:cubicBezTo>
                    <a:cubicBezTo>
                      <a:pt x="875" y="26"/>
                      <a:pt x="879" y="25"/>
                      <a:pt x="878" y="27"/>
                    </a:cubicBezTo>
                    <a:cubicBezTo>
                      <a:pt x="881" y="26"/>
                      <a:pt x="876" y="25"/>
                      <a:pt x="880" y="24"/>
                    </a:cubicBezTo>
                    <a:cubicBezTo>
                      <a:pt x="883" y="23"/>
                      <a:pt x="889" y="24"/>
                      <a:pt x="889" y="18"/>
                    </a:cubicBezTo>
                    <a:cubicBezTo>
                      <a:pt x="893" y="19"/>
                      <a:pt x="895" y="18"/>
                      <a:pt x="895" y="14"/>
                    </a:cubicBezTo>
                    <a:cubicBezTo>
                      <a:pt x="897" y="15"/>
                      <a:pt x="898" y="18"/>
                      <a:pt x="900" y="18"/>
                    </a:cubicBezTo>
                    <a:cubicBezTo>
                      <a:pt x="905" y="18"/>
                      <a:pt x="904" y="12"/>
                      <a:pt x="904" y="7"/>
                    </a:cubicBezTo>
                    <a:cubicBezTo>
                      <a:pt x="913" y="4"/>
                      <a:pt x="922" y="0"/>
                      <a:pt x="936" y="1"/>
                    </a:cubicBezTo>
                    <a:cubicBezTo>
                      <a:pt x="934" y="3"/>
                      <a:pt x="934" y="6"/>
                      <a:pt x="934" y="9"/>
                    </a:cubicBezTo>
                    <a:cubicBezTo>
                      <a:pt x="937" y="13"/>
                      <a:pt x="945" y="13"/>
                      <a:pt x="949" y="9"/>
                    </a:cubicBezTo>
                    <a:cubicBezTo>
                      <a:pt x="951" y="9"/>
                      <a:pt x="950" y="11"/>
                      <a:pt x="949" y="11"/>
                    </a:cubicBezTo>
                    <a:close/>
                    <a:moveTo>
                      <a:pt x="1396" y="238"/>
                    </a:moveTo>
                    <a:cubicBezTo>
                      <a:pt x="1396" y="236"/>
                      <a:pt x="1393" y="236"/>
                      <a:pt x="1392" y="234"/>
                    </a:cubicBezTo>
                    <a:cubicBezTo>
                      <a:pt x="1386" y="233"/>
                      <a:pt x="1386" y="238"/>
                      <a:pt x="1392" y="236"/>
                    </a:cubicBezTo>
                    <a:cubicBezTo>
                      <a:pt x="1393" y="238"/>
                      <a:pt x="1394" y="238"/>
                      <a:pt x="1396" y="238"/>
                    </a:cubicBezTo>
                    <a:close/>
                    <a:moveTo>
                      <a:pt x="403" y="378"/>
                    </a:moveTo>
                    <a:cubicBezTo>
                      <a:pt x="401" y="384"/>
                      <a:pt x="409" y="380"/>
                      <a:pt x="406" y="387"/>
                    </a:cubicBezTo>
                    <a:cubicBezTo>
                      <a:pt x="410" y="388"/>
                      <a:pt x="411" y="384"/>
                      <a:pt x="412" y="387"/>
                    </a:cubicBezTo>
                    <a:cubicBezTo>
                      <a:pt x="412" y="389"/>
                      <a:pt x="411" y="389"/>
                      <a:pt x="410" y="389"/>
                    </a:cubicBezTo>
                    <a:cubicBezTo>
                      <a:pt x="407" y="390"/>
                      <a:pt x="399" y="393"/>
                      <a:pt x="397" y="393"/>
                    </a:cubicBezTo>
                    <a:cubicBezTo>
                      <a:pt x="392" y="392"/>
                      <a:pt x="391" y="388"/>
                      <a:pt x="388" y="385"/>
                    </a:cubicBezTo>
                    <a:cubicBezTo>
                      <a:pt x="388" y="382"/>
                      <a:pt x="393" y="384"/>
                      <a:pt x="393" y="382"/>
                    </a:cubicBezTo>
                    <a:cubicBezTo>
                      <a:pt x="389" y="378"/>
                      <a:pt x="388" y="377"/>
                      <a:pt x="382" y="380"/>
                    </a:cubicBezTo>
                    <a:cubicBezTo>
                      <a:pt x="380" y="376"/>
                      <a:pt x="379" y="373"/>
                      <a:pt x="373" y="374"/>
                    </a:cubicBezTo>
                    <a:cubicBezTo>
                      <a:pt x="370" y="374"/>
                      <a:pt x="372" y="377"/>
                      <a:pt x="371" y="378"/>
                    </a:cubicBezTo>
                    <a:cubicBezTo>
                      <a:pt x="370" y="379"/>
                      <a:pt x="367" y="379"/>
                      <a:pt x="365" y="380"/>
                    </a:cubicBezTo>
                    <a:cubicBezTo>
                      <a:pt x="363" y="381"/>
                      <a:pt x="362" y="387"/>
                      <a:pt x="358" y="385"/>
                    </a:cubicBezTo>
                    <a:cubicBezTo>
                      <a:pt x="360" y="392"/>
                      <a:pt x="354" y="394"/>
                      <a:pt x="354" y="395"/>
                    </a:cubicBezTo>
                    <a:cubicBezTo>
                      <a:pt x="353" y="399"/>
                      <a:pt x="354" y="403"/>
                      <a:pt x="352" y="408"/>
                    </a:cubicBezTo>
                    <a:cubicBezTo>
                      <a:pt x="350" y="408"/>
                      <a:pt x="350" y="406"/>
                      <a:pt x="349" y="406"/>
                    </a:cubicBezTo>
                    <a:cubicBezTo>
                      <a:pt x="347" y="412"/>
                      <a:pt x="353" y="415"/>
                      <a:pt x="349" y="419"/>
                    </a:cubicBezTo>
                    <a:cubicBezTo>
                      <a:pt x="352" y="417"/>
                      <a:pt x="351" y="422"/>
                      <a:pt x="352" y="423"/>
                    </a:cubicBezTo>
                    <a:cubicBezTo>
                      <a:pt x="353" y="423"/>
                      <a:pt x="355" y="422"/>
                      <a:pt x="356" y="423"/>
                    </a:cubicBezTo>
                    <a:cubicBezTo>
                      <a:pt x="360" y="424"/>
                      <a:pt x="361" y="427"/>
                      <a:pt x="363" y="424"/>
                    </a:cubicBezTo>
                    <a:cubicBezTo>
                      <a:pt x="364" y="424"/>
                      <a:pt x="367" y="425"/>
                      <a:pt x="367" y="424"/>
                    </a:cubicBezTo>
                    <a:cubicBezTo>
                      <a:pt x="374" y="424"/>
                      <a:pt x="372" y="423"/>
                      <a:pt x="375" y="421"/>
                    </a:cubicBezTo>
                    <a:cubicBezTo>
                      <a:pt x="378" y="420"/>
                      <a:pt x="379" y="423"/>
                      <a:pt x="382" y="423"/>
                    </a:cubicBezTo>
                    <a:cubicBezTo>
                      <a:pt x="382" y="421"/>
                      <a:pt x="382" y="419"/>
                      <a:pt x="384" y="419"/>
                    </a:cubicBezTo>
                    <a:cubicBezTo>
                      <a:pt x="388" y="418"/>
                      <a:pt x="397" y="418"/>
                      <a:pt x="401" y="419"/>
                    </a:cubicBezTo>
                    <a:cubicBezTo>
                      <a:pt x="404" y="420"/>
                      <a:pt x="405" y="422"/>
                      <a:pt x="408" y="423"/>
                    </a:cubicBezTo>
                    <a:cubicBezTo>
                      <a:pt x="410" y="423"/>
                      <a:pt x="410" y="421"/>
                      <a:pt x="412" y="421"/>
                    </a:cubicBezTo>
                    <a:cubicBezTo>
                      <a:pt x="411" y="421"/>
                      <a:pt x="413" y="422"/>
                      <a:pt x="414" y="423"/>
                    </a:cubicBezTo>
                    <a:cubicBezTo>
                      <a:pt x="419" y="424"/>
                      <a:pt x="419" y="424"/>
                      <a:pt x="423" y="424"/>
                    </a:cubicBezTo>
                    <a:cubicBezTo>
                      <a:pt x="431" y="425"/>
                      <a:pt x="441" y="423"/>
                      <a:pt x="449" y="424"/>
                    </a:cubicBezTo>
                    <a:cubicBezTo>
                      <a:pt x="449" y="420"/>
                      <a:pt x="449" y="417"/>
                      <a:pt x="451" y="415"/>
                    </a:cubicBezTo>
                    <a:cubicBezTo>
                      <a:pt x="445" y="407"/>
                      <a:pt x="439" y="398"/>
                      <a:pt x="427" y="396"/>
                    </a:cubicBezTo>
                    <a:cubicBezTo>
                      <a:pt x="427" y="393"/>
                      <a:pt x="424" y="393"/>
                      <a:pt x="423" y="391"/>
                    </a:cubicBezTo>
                    <a:cubicBezTo>
                      <a:pt x="423" y="388"/>
                      <a:pt x="422" y="387"/>
                      <a:pt x="421" y="385"/>
                    </a:cubicBezTo>
                    <a:cubicBezTo>
                      <a:pt x="422" y="380"/>
                      <a:pt x="428" y="379"/>
                      <a:pt x="427" y="372"/>
                    </a:cubicBezTo>
                    <a:cubicBezTo>
                      <a:pt x="416" y="371"/>
                      <a:pt x="411" y="376"/>
                      <a:pt x="403" y="378"/>
                    </a:cubicBezTo>
                    <a:close/>
                    <a:moveTo>
                      <a:pt x="531" y="464"/>
                    </a:moveTo>
                    <a:cubicBezTo>
                      <a:pt x="529" y="464"/>
                      <a:pt x="526" y="464"/>
                      <a:pt x="529" y="465"/>
                    </a:cubicBezTo>
                    <a:cubicBezTo>
                      <a:pt x="532" y="463"/>
                      <a:pt x="539" y="463"/>
                      <a:pt x="542" y="462"/>
                    </a:cubicBezTo>
                    <a:cubicBezTo>
                      <a:pt x="543" y="462"/>
                      <a:pt x="542" y="458"/>
                      <a:pt x="542" y="458"/>
                    </a:cubicBezTo>
                    <a:cubicBezTo>
                      <a:pt x="543" y="457"/>
                      <a:pt x="545" y="460"/>
                      <a:pt x="546" y="460"/>
                    </a:cubicBezTo>
                    <a:cubicBezTo>
                      <a:pt x="546" y="456"/>
                      <a:pt x="546" y="451"/>
                      <a:pt x="546" y="447"/>
                    </a:cubicBezTo>
                    <a:cubicBezTo>
                      <a:pt x="544" y="444"/>
                      <a:pt x="542" y="443"/>
                      <a:pt x="541" y="441"/>
                    </a:cubicBezTo>
                    <a:cubicBezTo>
                      <a:pt x="540" y="440"/>
                      <a:pt x="541" y="438"/>
                      <a:pt x="541" y="438"/>
                    </a:cubicBezTo>
                    <a:cubicBezTo>
                      <a:pt x="540" y="435"/>
                      <a:pt x="534" y="433"/>
                      <a:pt x="539" y="432"/>
                    </a:cubicBezTo>
                    <a:cubicBezTo>
                      <a:pt x="542" y="432"/>
                      <a:pt x="546" y="432"/>
                      <a:pt x="550" y="432"/>
                    </a:cubicBezTo>
                    <a:cubicBezTo>
                      <a:pt x="551" y="425"/>
                      <a:pt x="546" y="425"/>
                      <a:pt x="546" y="423"/>
                    </a:cubicBezTo>
                    <a:cubicBezTo>
                      <a:pt x="546" y="419"/>
                      <a:pt x="542" y="419"/>
                      <a:pt x="541" y="417"/>
                    </a:cubicBezTo>
                    <a:cubicBezTo>
                      <a:pt x="541" y="417"/>
                      <a:pt x="544" y="415"/>
                      <a:pt x="542" y="413"/>
                    </a:cubicBezTo>
                    <a:cubicBezTo>
                      <a:pt x="537" y="415"/>
                      <a:pt x="536" y="411"/>
                      <a:pt x="531" y="411"/>
                    </a:cubicBezTo>
                    <a:cubicBezTo>
                      <a:pt x="533" y="401"/>
                      <a:pt x="520" y="404"/>
                      <a:pt x="520" y="395"/>
                    </a:cubicBezTo>
                    <a:cubicBezTo>
                      <a:pt x="525" y="391"/>
                      <a:pt x="528" y="385"/>
                      <a:pt x="539" y="387"/>
                    </a:cubicBezTo>
                    <a:cubicBezTo>
                      <a:pt x="539" y="386"/>
                      <a:pt x="539" y="384"/>
                      <a:pt x="541" y="383"/>
                    </a:cubicBezTo>
                    <a:cubicBezTo>
                      <a:pt x="541" y="378"/>
                      <a:pt x="535" y="379"/>
                      <a:pt x="535" y="374"/>
                    </a:cubicBezTo>
                    <a:cubicBezTo>
                      <a:pt x="526" y="373"/>
                      <a:pt x="522" y="377"/>
                      <a:pt x="516" y="374"/>
                    </a:cubicBezTo>
                    <a:cubicBezTo>
                      <a:pt x="516" y="377"/>
                      <a:pt x="516" y="378"/>
                      <a:pt x="514" y="376"/>
                    </a:cubicBezTo>
                    <a:cubicBezTo>
                      <a:pt x="513" y="375"/>
                      <a:pt x="512" y="378"/>
                      <a:pt x="513" y="378"/>
                    </a:cubicBezTo>
                    <a:cubicBezTo>
                      <a:pt x="508" y="380"/>
                      <a:pt x="502" y="383"/>
                      <a:pt x="500" y="383"/>
                    </a:cubicBezTo>
                    <a:cubicBezTo>
                      <a:pt x="494" y="385"/>
                      <a:pt x="496" y="386"/>
                      <a:pt x="494" y="389"/>
                    </a:cubicBezTo>
                    <a:cubicBezTo>
                      <a:pt x="493" y="390"/>
                      <a:pt x="491" y="388"/>
                      <a:pt x="490" y="389"/>
                    </a:cubicBezTo>
                    <a:cubicBezTo>
                      <a:pt x="489" y="390"/>
                      <a:pt x="491" y="394"/>
                      <a:pt x="490" y="395"/>
                    </a:cubicBezTo>
                    <a:cubicBezTo>
                      <a:pt x="491" y="399"/>
                      <a:pt x="495" y="392"/>
                      <a:pt x="496" y="398"/>
                    </a:cubicBezTo>
                    <a:cubicBezTo>
                      <a:pt x="496" y="400"/>
                      <a:pt x="497" y="401"/>
                      <a:pt x="498" y="402"/>
                    </a:cubicBezTo>
                    <a:cubicBezTo>
                      <a:pt x="496" y="408"/>
                      <a:pt x="499" y="412"/>
                      <a:pt x="500" y="413"/>
                    </a:cubicBezTo>
                    <a:cubicBezTo>
                      <a:pt x="500" y="416"/>
                      <a:pt x="500" y="416"/>
                      <a:pt x="501" y="417"/>
                    </a:cubicBezTo>
                    <a:cubicBezTo>
                      <a:pt x="502" y="417"/>
                      <a:pt x="503" y="423"/>
                      <a:pt x="503" y="423"/>
                    </a:cubicBezTo>
                    <a:cubicBezTo>
                      <a:pt x="505" y="428"/>
                      <a:pt x="505" y="427"/>
                      <a:pt x="507" y="430"/>
                    </a:cubicBezTo>
                    <a:cubicBezTo>
                      <a:pt x="508" y="432"/>
                      <a:pt x="506" y="434"/>
                      <a:pt x="507" y="436"/>
                    </a:cubicBezTo>
                    <a:cubicBezTo>
                      <a:pt x="508" y="437"/>
                      <a:pt x="512" y="438"/>
                      <a:pt x="511" y="441"/>
                    </a:cubicBezTo>
                    <a:cubicBezTo>
                      <a:pt x="504" y="439"/>
                      <a:pt x="509" y="449"/>
                      <a:pt x="505" y="451"/>
                    </a:cubicBezTo>
                    <a:cubicBezTo>
                      <a:pt x="513" y="452"/>
                      <a:pt x="513" y="463"/>
                      <a:pt x="522" y="458"/>
                    </a:cubicBezTo>
                    <a:cubicBezTo>
                      <a:pt x="515" y="465"/>
                      <a:pt x="531" y="459"/>
                      <a:pt x="531" y="464"/>
                    </a:cubicBezTo>
                    <a:close/>
                    <a:moveTo>
                      <a:pt x="587" y="378"/>
                    </a:moveTo>
                    <a:cubicBezTo>
                      <a:pt x="586" y="379"/>
                      <a:pt x="587" y="382"/>
                      <a:pt x="585" y="383"/>
                    </a:cubicBezTo>
                    <a:cubicBezTo>
                      <a:pt x="584" y="385"/>
                      <a:pt x="580" y="385"/>
                      <a:pt x="580" y="387"/>
                    </a:cubicBezTo>
                    <a:cubicBezTo>
                      <a:pt x="581" y="389"/>
                      <a:pt x="585" y="392"/>
                      <a:pt x="585" y="395"/>
                    </a:cubicBezTo>
                    <a:cubicBezTo>
                      <a:pt x="585" y="395"/>
                      <a:pt x="582" y="395"/>
                      <a:pt x="583" y="396"/>
                    </a:cubicBezTo>
                    <a:cubicBezTo>
                      <a:pt x="585" y="398"/>
                      <a:pt x="589" y="397"/>
                      <a:pt x="591" y="400"/>
                    </a:cubicBezTo>
                    <a:cubicBezTo>
                      <a:pt x="591" y="398"/>
                      <a:pt x="593" y="397"/>
                      <a:pt x="595" y="396"/>
                    </a:cubicBezTo>
                    <a:cubicBezTo>
                      <a:pt x="596" y="391"/>
                      <a:pt x="592" y="391"/>
                      <a:pt x="591" y="387"/>
                    </a:cubicBezTo>
                    <a:cubicBezTo>
                      <a:pt x="594" y="386"/>
                      <a:pt x="597" y="384"/>
                      <a:pt x="596" y="380"/>
                    </a:cubicBezTo>
                    <a:cubicBezTo>
                      <a:pt x="593" y="380"/>
                      <a:pt x="592" y="378"/>
                      <a:pt x="595" y="376"/>
                    </a:cubicBezTo>
                    <a:cubicBezTo>
                      <a:pt x="592" y="377"/>
                      <a:pt x="589" y="376"/>
                      <a:pt x="587" y="378"/>
                    </a:cubicBezTo>
                    <a:close/>
                    <a:moveTo>
                      <a:pt x="343" y="428"/>
                    </a:moveTo>
                    <a:cubicBezTo>
                      <a:pt x="342" y="436"/>
                      <a:pt x="356" y="431"/>
                      <a:pt x="356" y="428"/>
                    </a:cubicBezTo>
                    <a:cubicBezTo>
                      <a:pt x="351" y="426"/>
                      <a:pt x="348" y="426"/>
                      <a:pt x="343" y="428"/>
                    </a:cubicBezTo>
                    <a:close/>
                    <a:moveTo>
                      <a:pt x="386" y="775"/>
                    </a:moveTo>
                    <a:cubicBezTo>
                      <a:pt x="388" y="768"/>
                      <a:pt x="399" y="768"/>
                      <a:pt x="397" y="756"/>
                    </a:cubicBezTo>
                    <a:cubicBezTo>
                      <a:pt x="392" y="761"/>
                      <a:pt x="382" y="752"/>
                      <a:pt x="377" y="758"/>
                    </a:cubicBezTo>
                    <a:cubicBezTo>
                      <a:pt x="385" y="759"/>
                      <a:pt x="375" y="760"/>
                      <a:pt x="375" y="762"/>
                    </a:cubicBezTo>
                    <a:cubicBezTo>
                      <a:pt x="375" y="760"/>
                      <a:pt x="377" y="766"/>
                      <a:pt x="377" y="767"/>
                    </a:cubicBezTo>
                    <a:cubicBezTo>
                      <a:pt x="377" y="770"/>
                      <a:pt x="377" y="773"/>
                      <a:pt x="375" y="773"/>
                    </a:cubicBezTo>
                    <a:cubicBezTo>
                      <a:pt x="375" y="772"/>
                      <a:pt x="373" y="771"/>
                      <a:pt x="373" y="773"/>
                    </a:cubicBezTo>
                    <a:cubicBezTo>
                      <a:pt x="375" y="776"/>
                      <a:pt x="381" y="775"/>
                      <a:pt x="386" y="7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5FCB03A-3A86-4EBC-9874-4E4AA86CA67B}"/>
                  </a:ext>
                </a:extLst>
              </p:cNvPr>
              <p:cNvSpPr/>
              <p:nvPr/>
            </p:nvSpPr>
            <p:spPr bwMode="auto">
              <a:xfrm>
                <a:off x="4137528" y="707649"/>
                <a:ext cx="47627" cy="25214"/>
              </a:xfrm>
              <a:custGeom>
                <a:avLst/>
                <a:gdLst>
                  <a:gd name="T0" fmla="*/ 16 w 23"/>
                  <a:gd name="T1" fmla="*/ 0 h 12"/>
                  <a:gd name="T2" fmla="*/ 20 w 23"/>
                  <a:gd name="T3" fmla="*/ 11 h 12"/>
                  <a:gd name="T4" fmla="*/ 0 w 23"/>
                  <a:gd name="T5" fmla="*/ 6 h 12"/>
                  <a:gd name="T6" fmla="*/ 16 w 23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2">
                    <a:moveTo>
                      <a:pt x="16" y="0"/>
                    </a:moveTo>
                    <a:cubicBezTo>
                      <a:pt x="16" y="5"/>
                      <a:pt x="23" y="4"/>
                      <a:pt x="20" y="11"/>
                    </a:cubicBezTo>
                    <a:cubicBezTo>
                      <a:pt x="10" y="12"/>
                      <a:pt x="4" y="10"/>
                      <a:pt x="0" y="6"/>
                    </a:cubicBezTo>
                    <a:cubicBezTo>
                      <a:pt x="3" y="1"/>
                      <a:pt x="10" y="1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FE3BB5B5-03D9-4A86-99EF-0B02FFB76B8C}"/>
                  </a:ext>
                </a:extLst>
              </p:cNvPr>
              <p:cNvSpPr/>
              <p:nvPr/>
            </p:nvSpPr>
            <p:spPr bwMode="auto">
              <a:xfrm>
                <a:off x="4234180" y="755276"/>
                <a:ext cx="466461" cy="326383"/>
              </a:xfrm>
              <a:custGeom>
                <a:avLst/>
                <a:gdLst>
                  <a:gd name="T0" fmla="*/ 22 w 224"/>
                  <a:gd name="T1" fmla="*/ 9 h 157"/>
                  <a:gd name="T2" fmla="*/ 29 w 224"/>
                  <a:gd name="T3" fmla="*/ 7 h 157"/>
                  <a:gd name="T4" fmla="*/ 29 w 224"/>
                  <a:gd name="T5" fmla="*/ 11 h 157"/>
                  <a:gd name="T6" fmla="*/ 29 w 224"/>
                  <a:gd name="T7" fmla="*/ 18 h 157"/>
                  <a:gd name="T8" fmla="*/ 35 w 224"/>
                  <a:gd name="T9" fmla="*/ 33 h 157"/>
                  <a:gd name="T10" fmla="*/ 48 w 224"/>
                  <a:gd name="T11" fmla="*/ 9 h 157"/>
                  <a:gd name="T12" fmla="*/ 65 w 224"/>
                  <a:gd name="T13" fmla="*/ 7 h 157"/>
                  <a:gd name="T14" fmla="*/ 76 w 224"/>
                  <a:gd name="T15" fmla="*/ 25 h 157"/>
                  <a:gd name="T16" fmla="*/ 89 w 224"/>
                  <a:gd name="T17" fmla="*/ 22 h 157"/>
                  <a:gd name="T18" fmla="*/ 107 w 224"/>
                  <a:gd name="T19" fmla="*/ 20 h 157"/>
                  <a:gd name="T20" fmla="*/ 115 w 224"/>
                  <a:gd name="T21" fmla="*/ 27 h 157"/>
                  <a:gd name="T22" fmla="*/ 122 w 224"/>
                  <a:gd name="T23" fmla="*/ 31 h 157"/>
                  <a:gd name="T24" fmla="*/ 126 w 224"/>
                  <a:gd name="T25" fmla="*/ 33 h 157"/>
                  <a:gd name="T26" fmla="*/ 143 w 224"/>
                  <a:gd name="T27" fmla="*/ 37 h 157"/>
                  <a:gd name="T28" fmla="*/ 158 w 224"/>
                  <a:gd name="T29" fmla="*/ 44 h 157"/>
                  <a:gd name="T30" fmla="*/ 163 w 224"/>
                  <a:gd name="T31" fmla="*/ 50 h 157"/>
                  <a:gd name="T32" fmla="*/ 174 w 224"/>
                  <a:gd name="T33" fmla="*/ 59 h 157"/>
                  <a:gd name="T34" fmla="*/ 167 w 224"/>
                  <a:gd name="T35" fmla="*/ 74 h 157"/>
                  <a:gd name="T36" fmla="*/ 184 w 224"/>
                  <a:gd name="T37" fmla="*/ 76 h 157"/>
                  <a:gd name="T38" fmla="*/ 188 w 224"/>
                  <a:gd name="T39" fmla="*/ 85 h 157"/>
                  <a:gd name="T40" fmla="*/ 202 w 224"/>
                  <a:gd name="T41" fmla="*/ 87 h 157"/>
                  <a:gd name="T42" fmla="*/ 212 w 224"/>
                  <a:gd name="T43" fmla="*/ 96 h 157"/>
                  <a:gd name="T44" fmla="*/ 216 w 224"/>
                  <a:gd name="T45" fmla="*/ 104 h 157"/>
                  <a:gd name="T46" fmla="*/ 206 w 224"/>
                  <a:gd name="T47" fmla="*/ 117 h 157"/>
                  <a:gd name="T48" fmla="*/ 193 w 224"/>
                  <a:gd name="T49" fmla="*/ 115 h 157"/>
                  <a:gd name="T50" fmla="*/ 182 w 224"/>
                  <a:gd name="T51" fmla="*/ 104 h 157"/>
                  <a:gd name="T52" fmla="*/ 173 w 224"/>
                  <a:gd name="T53" fmla="*/ 113 h 157"/>
                  <a:gd name="T54" fmla="*/ 186 w 224"/>
                  <a:gd name="T55" fmla="*/ 121 h 157"/>
                  <a:gd name="T56" fmla="*/ 193 w 224"/>
                  <a:gd name="T57" fmla="*/ 134 h 157"/>
                  <a:gd name="T58" fmla="*/ 188 w 224"/>
                  <a:gd name="T59" fmla="*/ 147 h 157"/>
                  <a:gd name="T60" fmla="*/ 163 w 224"/>
                  <a:gd name="T61" fmla="*/ 137 h 157"/>
                  <a:gd name="T62" fmla="*/ 171 w 224"/>
                  <a:gd name="T63" fmla="*/ 147 h 157"/>
                  <a:gd name="T64" fmla="*/ 180 w 224"/>
                  <a:gd name="T65" fmla="*/ 152 h 157"/>
                  <a:gd name="T66" fmla="*/ 171 w 224"/>
                  <a:gd name="T67" fmla="*/ 152 h 157"/>
                  <a:gd name="T68" fmla="*/ 150 w 224"/>
                  <a:gd name="T69" fmla="*/ 145 h 157"/>
                  <a:gd name="T70" fmla="*/ 139 w 224"/>
                  <a:gd name="T71" fmla="*/ 139 h 157"/>
                  <a:gd name="T72" fmla="*/ 133 w 224"/>
                  <a:gd name="T73" fmla="*/ 130 h 157"/>
                  <a:gd name="T74" fmla="*/ 122 w 224"/>
                  <a:gd name="T75" fmla="*/ 109 h 157"/>
                  <a:gd name="T76" fmla="*/ 124 w 224"/>
                  <a:gd name="T77" fmla="*/ 104 h 157"/>
                  <a:gd name="T78" fmla="*/ 128 w 224"/>
                  <a:gd name="T79" fmla="*/ 96 h 157"/>
                  <a:gd name="T80" fmla="*/ 133 w 224"/>
                  <a:gd name="T81" fmla="*/ 87 h 157"/>
                  <a:gd name="T82" fmla="*/ 128 w 224"/>
                  <a:gd name="T83" fmla="*/ 76 h 157"/>
                  <a:gd name="T84" fmla="*/ 120 w 224"/>
                  <a:gd name="T85" fmla="*/ 70 h 157"/>
                  <a:gd name="T86" fmla="*/ 115 w 224"/>
                  <a:gd name="T87" fmla="*/ 70 h 157"/>
                  <a:gd name="T88" fmla="*/ 107 w 224"/>
                  <a:gd name="T89" fmla="*/ 68 h 157"/>
                  <a:gd name="T90" fmla="*/ 92 w 224"/>
                  <a:gd name="T91" fmla="*/ 52 h 157"/>
                  <a:gd name="T92" fmla="*/ 78 w 224"/>
                  <a:gd name="T93" fmla="*/ 55 h 157"/>
                  <a:gd name="T94" fmla="*/ 65 w 224"/>
                  <a:gd name="T95" fmla="*/ 55 h 157"/>
                  <a:gd name="T96" fmla="*/ 50 w 224"/>
                  <a:gd name="T97" fmla="*/ 55 h 157"/>
                  <a:gd name="T98" fmla="*/ 22 w 224"/>
                  <a:gd name="T99" fmla="*/ 50 h 157"/>
                  <a:gd name="T100" fmla="*/ 9 w 224"/>
                  <a:gd name="T101" fmla="*/ 42 h 157"/>
                  <a:gd name="T102" fmla="*/ 5 w 224"/>
                  <a:gd name="T103" fmla="*/ 33 h 157"/>
                  <a:gd name="T104" fmla="*/ 7 w 224"/>
                  <a:gd name="T105" fmla="*/ 25 h 157"/>
                  <a:gd name="T106" fmla="*/ 145 w 224"/>
                  <a:gd name="T107" fmla="*/ 107 h 157"/>
                  <a:gd name="T108" fmla="*/ 154 w 224"/>
                  <a:gd name="T109" fmla="*/ 100 h 157"/>
                  <a:gd name="T110" fmla="*/ 145 w 224"/>
                  <a:gd name="T111" fmla="*/ 10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4" h="157">
                    <a:moveTo>
                      <a:pt x="9" y="11"/>
                    </a:moveTo>
                    <a:cubicBezTo>
                      <a:pt x="12" y="16"/>
                      <a:pt x="19" y="4"/>
                      <a:pt x="22" y="9"/>
                    </a:cubicBezTo>
                    <a:cubicBezTo>
                      <a:pt x="24" y="9"/>
                      <a:pt x="23" y="5"/>
                      <a:pt x="24" y="5"/>
                    </a:cubicBezTo>
                    <a:cubicBezTo>
                      <a:pt x="26" y="4"/>
                      <a:pt x="27" y="7"/>
                      <a:pt x="29" y="7"/>
                    </a:cubicBezTo>
                    <a:cubicBezTo>
                      <a:pt x="32" y="7"/>
                      <a:pt x="32" y="0"/>
                      <a:pt x="37" y="5"/>
                    </a:cubicBezTo>
                    <a:cubicBezTo>
                      <a:pt x="36" y="13"/>
                      <a:pt x="32" y="7"/>
                      <a:pt x="29" y="11"/>
                    </a:cubicBezTo>
                    <a:cubicBezTo>
                      <a:pt x="28" y="12"/>
                      <a:pt x="33" y="12"/>
                      <a:pt x="33" y="12"/>
                    </a:cubicBezTo>
                    <a:cubicBezTo>
                      <a:pt x="32" y="15"/>
                      <a:pt x="30" y="15"/>
                      <a:pt x="29" y="18"/>
                    </a:cubicBezTo>
                    <a:cubicBezTo>
                      <a:pt x="29" y="21"/>
                      <a:pt x="31" y="22"/>
                      <a:pt x="31" y="24"/>
                    </a:cubicBezTo>
                    <a:cubicBezTo>
                      <a:pt x="32" y="27"/>
                      <a:pt x="30" y="33"/>
                      <a:pt x="35" y="33"/>
                    </a:cubicBezTo>
                    <a:cubicBezTo>
                      <a:pt x="39" y="32"/>
                      <a:pt x="35" y="22"/>
                      <a:pt x="37" y="18"/>
                    </a:cubicBezTo>
                    <a:cubicBezTo>
                      <a:pt x="46" y="20"/>
                      <a:pt x="45" y="13"/>
                      <a:pt x="48" y="9"/>
                    </a:cubicBezTo>
                    <a:cubicBezTo>
                      <a:pt x="50" y="13"/>
                      <a:pt x="55" y="5"/>
                      <a:pt x="57" y="11"/>
                    </a:cubicBezTo>
                    <a:cubicBezTo>
                      <a:pt x="61" y="11"/>
                      <a:pt x="59" y="5"/>
                      <a:pt x="65" y="7"/>
                    </a:cubicBezTo>
                    <a:cubicBezTo>
                      <a:pt x="64" y="14"/>
                      <a:pt x="69" y="15"/>
                      <a:pt x="74" y="16"/>
                    </a:cubicBezTo>
                    <a:cubicBezTo>
                      <a:pt x="72" y="22"/>
                      <a:pt x="73" y="21"/>
                      <a:pt x="76" y="25"/>
                    </a:cubicBezTo>
                    <a:cubicBezTo>
                      <a:pt x="78" y="23"/>
                      <a:pt x="80" y="23"/>
                      <a:pt x="83" y="25"/>
                    </a:cubicBezTo>
                    <a:cubicBezTo>
                      <a:pt x="87" y="27"/>
                      <a:pt x="87" y="23"/>
                      <a:pt x="89" y="22"/>
                    </a:cubicBezTo>
                    <a:cubicBezTo>
                      <a:pt x="91" y="21"/>
                      <a:pt x="94" y="23"/>
                      <a:pt x="94" y="20"/>
                    </a:cubicBezTo>
                    <a:cubicBezTo>
                      <a:pt x="100" y="22"/>
                      <a:pt x="102" y="22"/>
                      <a:pt x="107" y="20"/>
                    </a:cubicBezTo>
                    <a:cubicBezTo>
                      <a:pt x="107" y="24"/>
                      <a:pt x="112" y="22"/>
                      <a:pt x="111" y="22"/>
                    </a:cubicBezTo>
                    <a:cubicBezTo>
                      <a:pt x="113" y="23"/>
                      <a:pt x="113" y="26"/>
                      <a:pt x="115" y="27"/>
                    </a:cubicBezTo>
                    <a:cubicBezTo>
                      <a:pt x="116" y="28"/>
                      <a:pt x="119" y="29"/>
                      <a:pt x="120" y="29"/>
                    </a:cubicBezTo>
                    <a:cubicBezTo>
                      <a:pt x="121" y="30"/>
                      <a:pt x="120" y="31"/>
                      <a:pt x="122" y="31"/>
                    </a:cubicBezTo>
                    <a:cubicBezTo>
                      <a:pt x="126" y="31"/>
                      <a:pt x="121" y="34"/>
                      <a:pt x="124" y="37"/>
                    </a:cubicBezTo>
                    <a:cubicBezTo>
                      <a:pt x="125" y="38"/>
                      <a:pt x="126" y="34"/>
                      <a:pt x="126" y="33"/>
                    </a:cubicBezTo>
                    <a:cubicBezTo>
                      <a:pt x="129" y="35"/>
                      <a:pt x="129" y="38"/>
                      <a:pt x="133" y="39"/>
                    </a:cubicBezTo>
                    <a:cubicBezTo>
                      <a:pt x="137" y="39"/>
                      <a:pt x="139" y="37"/>
                      <a:pt x="143" y="37"/>
                    </a:cubicBezTo>
                    <a:cubicBezTo>
                      <a:pt x="142" y="44"/>
                      <a:pt x="154" y="40"/>
                      <a:pt x="154" y="46"/>
                    </a:cubicBezTo>
                    <a:cubicBezTo>
                      <a:pt x="156" y="46"/>
                      <a:pt x="157" y="46"/>
                      <a:pt x="158" y="44"/>
                    </a:cubicBezTo>
                    <a:cubicBezTo>
                      <a:pt x="160" y="45"/>
                      <a:pt x="161" y="48"/>
                      <a:pt x="161" y="52"/>
                    </a:cubicBezTo>
                    <a:cubicBezTo>
                      <a:pt x="163" y="52"/>
                      <a:pt x="163" y="51"/>
                      <a:pt x="163" y="50"/>
                    </a:cubicBezTo>
                    <a:cubicBezTo>
                      <a:pt x="166" y="52"/>
                      <a:pt x="168" y="56"/>
                      <a:pt x="174" y="55"/>
                    </a:cubicBezTo>
                    <a:cubicBezTo>
                      <a:pt x="173" y="57"/>
                      <a:pt x="172" y="59"/>
                      <a:pt x="174" y="59"/>
                    </a:cubicBezTo>
                    <a:cubicBezTo>
                      <a:pt x="176" y="62"/>
                      <a:pt x="169" y="65"/>
                      <a:pt x="174" y="66"/>
                    </a:cubicBezTo>
                    <a:cubicBezTo>
                      <a:pt x="172" y="69"/>
                      <a:pt x="167" y="69"/>
                      <a:pt x="167" y="74"/>
                    </a:cubicBezTo>
                    <a:cubicBezTo>
                      <a:pt x="171" y="81"/>
                      <a:pt x="180" y="72"/>
                      <a:pt x="182" y="80"/>
                    </a:cubicBezTo>
                    <a:cubicBezTo>
                      <a:pt x="184" y="79"/>
                      <a:pt x="183" y="77"/>
                      <a:pt x="184" y="76"/>
                    </a:cubicBezTo>
                    <a:cubicBezTo>
                      <a:pt x="186" y="76"/>
                      <a:pt x="185" y="80"/>
                      <a:pt x="186" y="81"/>
                    </a:cubicBezTo>
                    <a:cubicBezTo>
                      <a:pt x="186" y="81"/>
                      <a:pt x="188" y="85"/>
                      <a:pt x="188" y="85"/>
                    </a:cubicBezTo>
                    <a:cubicBezTo>
                      <a:pt x="190" y="85"/>
                      <a:pt x="192" y="81"/>
                      <a:pt x="191" y="89"/>
                    </a:cubicBezTo>
                    <a:cubicBezTo>
                      <a:pt x="196" y="89"/>
                      <a:pt x="197" y="86"/>
                      <a:pt x="202" y="87"/>
                    </a:cubicBezTo>
                    <a:cubicBezTo>
                      <a:pt x="203" y="88"/>
                      <a:pt x="204" y="90"/>
                      <a:pt x="204" y="93"/>
                    </a:cubicBezTo>
                    <a:cubicBezTo>
                      <a:pt x="208" y="93"/>
                      <a:pt x="214" y="91"/>
                      <a:pt x="212" y="96"/>
                    </a:cubicBezTo>
                    <a:cubicBezTo>
                      <a:pt x="219" y="93"/>
                      <a:pt x="215" y="97"/>
                      <a:pt x="221" y="98"/>
                    </a:cubicBezTo>
                    <a:cubicBezTo>
                      <a:pt x="224" y="102"/>
                      <a:pt x="215" y="104"/>
                      <a:pt x="216" y="104"/>
                    </a:cubicBezTo>
                    <a:cubicBezTo>
                      <a:pt x="214" y="105"/>
                      <a:pt x="217" y="106"/>
                      <a:pt x="217" y="106"/>
                    </a:cubicBezTo>
                    <a:cubicBezTo>
                      <a:pt x="213" y="111"/>
                      <a:pt x="209" y="110"/>
                      <a:pt x="206" y="117"/>
                    </a:cubicBezTo>
                    <a:cubicBezTo>
                      <a:pt x="204" y="117"/>
                      <a:pt x="203" y="117"/>
                      <a:pt x="202" y="119"/>
                    </a:cubicBezTo>
                    <a:cubicBezTo>
                      <a:pt x="201" y="118"/>
                      <a:pt x="193" y="118"/>
                      <a:pt x="193" y="115"/>
                    </a:cubicBezTo>
                    <a:cubicBezTo>
                      <a:pt x="193" y="111"/>
                      <a:pt x="184" y="115"/>
                      <a:pt x="186" y="107"/>
                    </a:cubicBezTo>
                    <a:cubicBezTo>
                      <a:pt x="182" y="108"/>
                      <a:pt x="182" y="106"/>
                      <a:pt x="182" y="104"/>
                    </a:cubicBezTo>
                    <a:cubicBezTo>
                      <a:pt x="179" y="104"/>
                      <a:pt x="177" y="104"/>
                      <a:pt x="174" y="104"/>
                    </a:cubicBezTo>
                    <a:cubicBezTo>
                      <a:pt x="170" y="103"/>
                      <a:pt x="174" y="110"/>
                      <a:pt x="173" y="113"/>
                    </a:cubicBezTo>
                    <a:cubicBezTo>
                      <a:pt x="173" y="117"/>
                      <a:pt x="178" y="117"/>
                      <a:pt x="178" y="121"/>
                    </a:cubicBezTo>
                    <a:cubicBezTo>
                      <a:pt x="182" y="118"/>
                      <a:pt x="185" y="125"/>
                      <a:pt x="186" y="121"/>
                    </a:cubicBezTo>
                    <a:cubicBezTo>
                      <a:pt x="188" y="123"/>
                      <a:pt x="189" y="127"/>
                      <a:pt x="189" y="132"/>
                    </a:cubicBezTo>
                    <a:cubicBezTo>
                      <a:pt x="189" y="134"/>
                      <a:pt x="193" y="133"/>
                      <a:pt x="193" y="134"/>
                    </a:cubicBezTo>
                    <a:cubicBezTo>
                      <a:pt x="196" y="138"/>
                      <a:pt x="191" y="147"/>
                      <a:pt x="191" y="150"/>
                    </a:cubicBezTo>
                    <a:cubicBezTo>
                      <a:pt x="187" y="152"/>
                      <a:pt x="189" y="148"/>
                      <a:pt x="188" y="147"/>
                    </a:cubicBezTo>
                    <a:cubicBezTo>
                      <a:pt x="185" y="145"/>
                      <a:pt x="179" y="146"/>
                      <a:pt x="178" y="141"/>
                    </a:cubicBezTo>
                    <a:cubicBezTo>
                      <a:pt x="171" y="142"/>
                      <a:pt x="172" y="135"/>
                      <a:pt x="163" y="137"/>
                    </a:cubicBezTo>
                    <a:cubicBezTo>
                      <a:pt x="164" y="141"/>
                      <a:pt x="170" y="138"/>
                      <a:pt x="171" y="141"/>
                    </a:cubicBezTo>
                    <a:cubicBezTo>
                      <a:pt x="164" y="147"/>
                      <a:pt x="177" y="144"/>
                      <a:pt x="171" y="147"/>
                    </a:cubicBezTo>
                    <a:cubicBezTo>
                      <a:pt x="171" y="149"/>
                      <a:pt x="176" y="149"/>
                      <a:pt x="178" y="150"/>
                    </a:cubicBezTo>
                    <a:cubicBezTo>
                      <a:pt x="179" y="151"/>
                      <a:pt x="178" y="152"/>
                      <a:pt x="180" y="152"/>
                    </a:cubicBezTo>
                    <a:cubicBezTo>
                      <a:pt x="183" y="152"/>
                      <a:pt x="184" y="153"/>
                      <a:pt x="184" y="156"/>
                    </a:cubicBezTo>
                    <a:cubicBezTo>
                      <a:pt x="178" y="157"/>
                      <a:pt x="175" y="155"/>
                      <a:pt x="171" y="152"/>
                    </a:cubicBezTo>
                    <a:cubicBezTo>
                      <a:pt x="168" y="151"/>
                      <a:pt x="163" y="151"/>
                      <a:pt x="160" y="148"/>
                    </a:cubicBezTo>
                    <a:cubicBezTo>
                      <a:pt x="157" y="147"/>
                      <a:pt x="153" y="145"/>
                      <a:pt x="150" y="145"/>
                    </a:cubicBezTo>
                    <a:cubicBezTo>
                      <a:pt x="148" y="145"/>
                      <a:pt x="148" y="142"/>
                      <a:pt x="147" y="141"/>
                    </a:cubicBezTo>
                    <a:cubicBezTo>
                      <a:pt x="144" y="140"/>
                      <a:pt x="141" y="141"/>
                      <a:pt x="139" y="139"/>
                    </a:cubicBezTo>
                    <a:cubicBezTo>
                      <a:pt x="137" y="138"/>
                      <a:pt x="139" y="135"/>
                      <a:pt x="137" y="134"/>
                    </a:cubicBezTo>
                    <a:cubicBezTo>
                      <a:pt x="136" y="132"/>
                      <a:pt x="132" y="134"/>
                      <a:pt x="133" y="130"/>
                    </a:cubicBezTo>
                    <a:cubicBezTo>
                      <a:pt x="125" y="130"/>
                      <a:pt x="125" y="122"/>
                      <a:pt x="120" y="119"/>
                    </a:cubicBezTo>
                    <a:cubicBezTo>
                      <a:pt x="122" y="118"/>
                      <a:pt x="120" y="112"/>
                      <a:pt x="122" y="109"/>
                    </a:cubicBezTo>
                    <a:cubicBezTo>
                      <a:pt x="123" y="109"/>
                      <a:pt x="126" y="110"/>
                      <a:pt x="126" y="109"/>
                    </a:cubicBezTo>
                    <a:cubicBezTo>
                      <a:pt x="126" y="108"/>
                      <a:pt x="123" y="106"/>
                      <a:pt x="124" y="104"/>
                    </a:cubicBezTo>
                    <a:cubicBezTo>
                      <a:pt x="124" y="103"/>
                      <a:pt x="128" y="104"/>
                      <a:pt x="128" y="104"/>
                    </a:cubicBezTo>
                    <a:cubicBezTo>
                      <a:pt x="129" y="103"/>
                      <a:pt x="127" y="98"/>
                      <a:pt x="128" y="96"/>
                    </a:cubicBezTo>
                    <a:cubicBezTo>
                      <a:pt x="128" y="96"/>
                      <a:pt x="131" y="97"/>
                      <a:pt x="132" y="96"/>
                    </a:cubicBezTo>
                    <a:cubicBezTo>
                      <a:pt x="134" y="94"/>
                      <a:pt x="131" y="89"/>
                      <a:pt x="133" y="87"/>
                    </a:cubicBezTo>
                    <a:cubicBezTo>
                      <a:pt x="133" y="85"/>
                      <a:pt x="130" y="85"/>
                      <a:pt x="128" y="85"/>
                    </a:cubicBezTo>
                    <a:cubicBezTo>
                      <a:pt x="128" y="82"/>
                      <a:pt x="128" y="79"/>
                      <a:pt x="128" y="76"/>
                    </a:cubicBezTo>
                    <a:cubicBezTo>
                      <a:pt x="126" y="76"/>
                      <a:pt x="125" y="76"/>
                      <a:pt x="124" y="78"/>
                    </a:cubicBezTo>
                    <a:cubicBezTo>
                      <a:pt x="121" y="76"/>
                      <a:pt x="123" y="72"/>
                      <a:pt x="120" y="70"/>
                    </a:cubicBezTo>
                    <a:cubicBezTo>
                      <a:pt x="120" y="70"/>
                      <a:pt x="118" y="72"/>
                      <a:pt x="117" y="72"/>
                    </a:cubicBezTo>
                    <a:cubicBezTo>
                      <a:pt x="117" y="72"/>
                      <a:pt x="115" y="70"/>
                      <a:pt x="115" y="70"/>
                    </a:cubicBezTo>
                    <a:cubicBezTo>
                      <a:pt x="114" y="70"/>
                      <a:pt x="112" y="67"/>
                      <a:pt x="111" y="66"/>
                    </a:cubicBezTo>
                    <a:cubicBezTo>
                      <a:pt x="110" y="66"/>
                      <a:pt x="109" y="69"/>
                      <a:pt x="107" y="68"/>
                    </a:cubicBezTo>
                    <a:cubicBezTo>
                      <a:pt x="107" y="68"/>
                      <a:pt x="104" y="64"/>
                      <a:pt x="100" y="65"/>
                    </a:cubicBezTo>
                    <a:cubicBezTo>
                      <a:pt x="108" y="56"/>
                      <a:pt x="90" y="61"/>
                      <a:pt x="92" y="52"/>
                    </a:cubicBezTo>
                    <a:cubicBezTo>
                      <a:pt x="88" y="52"/>
                      <a:pt x="83" y="52"/>
                      <a:pt x="83" y="57"/>
                    </a:cubicBezTo>
                    <a:cubicBezTo>
                      <a:pt x="80" y="59"/>
                      <a:pt x="78" y="55"/>
                      <a:pt x="78" y="55"/>
                    </a:cubicBezTo>
                    <a:cubicBezTo>
                      <a:pt x="76" y="55"/>
                      <a:pt x="75" y="57"/>
                      <a:pt x="72" y="57"/>
                    </a:cubicBezTo>
                    <a:cubicBezTo>
                      <a:pt x="69" y="57"/>
                      <a:pt x="68" y="55"/>
                      <a:pt x="65" y="55"/>
                    </a:cubicBezTo>
                    <a:cubicBezTo>
                      <a:pt x="61" y="55"/>
                      <a:pt x="61" y="57"/>
                      <a:pt x="57" y="57"/>
                    </a:cubicBezTo>
                    <a:cubicBezTo>
                      <a:pt x="53" y="57"/>
                      <a:pt x="52" y="56"/>
                      <a:pt x="50" y="55"/>
                    </a:cubicBezTo>
                    <a:cubicBezTo>
                      <a:pt x="41" y="55"/>
                      <a:pt x="34" y="56"/>
                      <a:pt x="25" y="53"/>
                    </a:cubicBezTo>
                    <a:cubicBezTo>
                      <a:pt x="24" y="53"/>
                      <a:pt x="22" y="50"/>
                      <a:pt x="22" y="50"/>
                    </a:cubicBezTo>
                    <a:cubicBezTo>
                      <a:pt x="18" y="49"/>
                      <a:pt x="15" y="51"/>
                      <a:pt x="16" y="46"/>
                    </a:cubicBezTo>
                    <a:cubicBezTo>
                      <a:pt x="13" y="46"/>
                      <a:pt x="7" y="48"/>
                      <a:pt x="9" y="42"/>
                    </a:cubicBezTo>
                    <a:cubicBezTo>
                      <a:pt x="15" y="44"/>
                      <a:pt x="16" y="40"/>
                      <a:pt x="20" y="39"/>
                    </a:cubicBezTo>
                    <a:cubicBezTo>
                      <a:pt x="17" y="35"/>
                      <a:pt x="7" y="38"/>
                      <a:pt x="5" y="33"/>
                    </a:cubicBezTo>
                    <a:cubicBezTo>
                      <a:pt x="3" y="33"/>
                      <a:pt x="3" y="34"/>
                      <a:pt x="3" y="35"/>
                    </a:cubicBezTo>
                    <a:cubicBezTo>
                      <a:pt x="0" y="34"/>
                      <a:pt x="5" y="27"/>
                      <a:pt x="7" y="25"/>
                    </a:cubicBezTo>
                    <a:cubicBezTo>
                      <a:pt x="5" y="19"/>
                      <a:pt x="10" y="17"/>
                      <a:pt x="9" y="11"/>
                    </a:cubicBezTo>
                    <a:close/>
                    <a:moveTo>
                      <a:pt x="145" y="107"/>
                    </a:moveTo>
                    <a:cubicBezTo>
                      <a:pt x="145" y="103"/>
                      <a:pt x="154" y="107"/>
                      <a:pt x="158" y="106"/>
                    </a:cubicBezTo>
                    <a:cubicBezTo>
                      <a:pt x="158" y="102"/>
                      <a:pt x="155" y="102"/>
                      <a:pt x="154" y="100"/>
                    </a:cubicBezTo>
                    <a:cubicBezTo>
                      <a:pt x="152" y="97"/>
                      <a:pt x="147" y="99"/>
                      <a:pt x="143" y="96"/>
                    </a:cubicBezTo>
                    <a:cubicBezTo>
                      <a:pt x="144" y="100"/>
                      <a:pt x="141" y="107"/>
                      <a:pt x="145" y="10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F406D41A-6FC2-4FC2-8CC4-62AC7B50B4EE}"/>
                  </a:ext>
                </a:extLst>
              </p:cNvPr>
              <p:cNvSpPr/>
              <p:nvPr/>
            </p:nvSpPr>
            <p:spPr bwMode="auto">
              <a:xfrm>
                <a:off x="3778927" y="772085"/>
                <a:ext cx="287161" cy="145681"/>
              </a:xfrm>
              <a:custGeom>
                <a:avLst/>
                <a:gdLst>
                  <a:gd name="T0" fmla="*/ 15 w 138"/>
                  <a:gd name="T1" fmla="*/ 53 h 70"/>
                  <a:gd name="T2" fmla="*/ 17 w 138"/>
                  <a:gd name="T3" fmla="*/ 47 h 70"/>
                  <a:gd name="T4" fmla="*/ 24 w 138"/>
                  <a:gd name="T5" fmla="*/ 45 h 70"/>
                  <a:gd name="T6" fmla="*/ 28 w 138"/>
                  <a:gd name="T7" fmla="*/ 44 h 70"/>
                  <a:gd name="T8" fmla="*/ 49 w 138"/>
                  <a:gd name="T9" fmla="*/ 42 h 70"/>
                  <a:gd name="T10" fmla="*/ 28 w 138"/>
                  <a:gd name="T11" fmla="*/ 40 h 70"/>
                  <a:gd name="T12" fmla="*/ 26 w 138"/>
                  <a:gd name="T13" fmla="*/ 38 h 70"/>
                  <a:gd name="T14" fmla="*/ 21 w 138"/>
                  <a:gd name="T15" fmla="*/ 40 h 70"/>
                  <a:gd name="T16" fmla="*/ 10 w 138"/>
                  <a:gd name="T17" fmla="*/ 38 h 70"/>
                  <a:gd name="T18" fmla="*/ 19 w 138"/>
                  <a:gd name="T19" fmla="*/ 31 h 70"/>
                  <a:gd name="T20" fmla="*/ 24 w 138"/>
                  <a:gd name="T21" fmla="*/ 31 h 70"/>
                  <a:gd name="T22" fmla="*/ 4 w 138"/>
                  <a:gd name="T23" fmla="*/ 27 h 70"/>
                  <a:gd name="T24" fmla="*/ 0 w 138"/>
                  <a:gd name="T25" fmla="*/ 21 h 70"/>
                  <a:gd name="T26" fmla="*/ 10 w 138"/>
                  <a:gd name="T27" fmla="*/ 14 h 70"/>
                  <a:gd name="T28" fmla="*/ 10 w 138"/>
                  <a:gd name="T29" fmla="*/ 12 h 70"/>
                  <a:gd name="T30" fmla="*/ 28 w 138"/>
                  <a:gd name="T31" fmla="*/ 4 h 70"/>
                  <a:gd name="T32" fmla="*/ 34 w 138"/>
                  <a:gd name="T33" fmla="*/ 1 h 70"/>
                  <a:gd name="T34" fmla="*/ 37 w 138"/>
                  <a:gd name="T35" fmla="*/ 3 h 70"/>
                  <a:gd name="T36" fmla="*/ 41 w 138"/>
                  <a:gd name="T37" fmla="*/ 10 h 70"/>
                  <a:gd name="T38" fmla="*/ 37 w 138"/>
                  <a:gd name="T39" fmla="*/ 12 h 70"/>
                  <a:gd name="T40" fmla="*/ 41 w 138"/>
                  <a:gd name="T41" fmla="*/ 14 h 70"/>
                  <a:gd name="T42" fmla="*/ 43 w 138"/>
                  <a:gd name="T43" fmla="*/ 10 h 70"/>
                  <a:gd name="T44" fmla="*/ 54 w 138"/>
                  <a:gd name="T45" fmla="*/ 8 h 70"/>
                  <a:gd name="T46" fmla="*/ 60 w 138"/>
                  <a:gd name="T47" fmla="*/ 17 h 70"/>
                  <a:gd name="T48" fmla="*/ 67 w 138"/>
                  <a:gd name="T49" fmla="*/ 14 h 70"/>
                  <a:gd name="T50" fmla="*/ 73 w 138"/>
                  <a:gd name="T51" fmla="*/ 8 h 70"/>
                  <a:gd name="T52" fmla="*/ 79 w 138"/>
                  <a:gd name="T53" fmla="*/ 10 h 70"/>
                  <a:gd name="T54" fmla="*/ 80 w 138"/>
                  <a:gd name="T55" fmla="*/ 17 h 70"/>
                  <a:gd name="T56" fmla="*/ 84 w 138"/>
                  <a:gd name="T57" fmla="*/ 25 h 70"/>
                  <a:gd name="T58" fmla="*/ 92 w 138"/>
                  <a:gd name="T59" fmla="*/ 19 h 70"/>
                  <a:gd name="T60" fmla="*/ 86 w 138"/>
                  <a:gd name="T61" fmla="*/ 16 h 70"/>
                  <a:gd name="T62" fmla="*/ 86 w 138"/>
                  <a:gd name="T63" fmla="*/ 4 h 70"/>
                  <a:gd name="T64" fmla="*/ 93 w 138"/>
                  <a:gd name="T65" fmla="*/ 3 h 70"/>
                  <a:gd name="T66" fmla="*/ 101 w 138"/>
                  <a:gd name="T67" fmla="*/ 16 h 70"/>
                  <a:gd name="T68" fmla="*/ 106 w 138"/>
                  <a:gd name="T69" fmla="*/ 19 h 70"/>
                  <a:gd name="T70" fmla="*/ 110 w 138"/>
                  <a:gd name="T71" fmla="*/ 25 h 70"/>
                  <a:gd name="T72" fmla="*/ 108 w 138"/>
                  <a:gd name="T73" fmla="*/ 31 h 70"/>
                  <a:gd name="T74" fmla="*/ 114 w 138"/>
                  <a:gd name="T75" fmla="*/ 38 h 70"/>
                  <a:gd name="T76" fmla="*/ 131 w 138"/>
                  <a:gd name="T77" fmla="*/ 40 h 70"/>
                  <a:gd name="T78" fmla="*/ 136 w 138"/>
                  <a:gd name="T79" fmla="*/ 45 h 70"/>
                  <a:gd name="T80" fmla="*/ 138 w 138"/>
                  <a:gd name="T81" fmla="*/ 49 h 70"/>
                  <a:gd name="T82" fmla="*/ 123 w 138"/>
                  <a:gd name="T83" fmla="*/ 49 h 70"/>
                  <a:gd name="T84" fmla="*/ 127 w 138"/>
                  <a:gd name="T85" fmla="*/ 62 h 70"/>
                  <a:gd name="T86" fmla="*/ 106 w 138"/>
                  <a:gd name="T87" fmla="*/ 62 h 70"/>
                  <a:gd name="T88" fmla="*/ 80 w 138"/>
                  <a:gd name="T89" fmla="*/ 62 h 70"/>
                  <a:gd name="T90" fmla="*/ 71 w 138"/>
                  <a:gd name="T91" fmla="*/ 64 h 70"/>
                  <a:gd name="T92" fmla="*/ 69 w 138"/>
                  <a:gd name="T93" fmla="*/ 68 h 70"/>
                  <a:gd name="T94" fmla="*/ 45 w 138"/>
                  <a:gd name="T95" fmla="*/ 68 h 70"/>
                  <a:gd name="T96" fmla="*/ 37 w 138"/>
                  <a:gd name="T97" fmla="*/ 57 h 70"/>
                  <a:gd name="T98" fmla="*/ 23 w 138"/>
                  <a:gd name="T99" fmla="*/ 53 h 70"/>
                  <a:gd name="T100" fmla="*/ 21 w 138"/>
                  <a:gd name="T101" fmla="*/ 55 h 70"/>
                  <a:gd name="T102" fmla="*/ 21 w 138"/>
                  <a:gd name="T103" fmla="*/ 51 h 70"/>
                  <a:gd name="T104" fmla="*/ 15 w 138"/>
                  <a:gd name="T105" fmla="*/ 5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8" h="70">
                    <a:moveTo>
                      <a:pt x="15" y="53"/>
                    </a:moveTo>
                    <a:cubicBezTo>
                      <a:pt x="11" y="53"/>
                      <a:pt x="16" y="48"/>
                      <a:pt x="17" y="47"/>
                    </a:cubicBezTo>
                    <a:cubicBezTo>
                      <a:pt x="17" y="45"/>
                      <a:pt x="22" y="46"/>
                      <a:pt x="24" y="45"/>
                    </a:cubicBezTo>
                    <a:cubicBezTo>
                      <a:pt x="26" y="45"/>
                      <a:pt x="26" y="44"/>
                      <a:pt x="28" y="44"/>
                    </a:cubicBezTo>
                    <a:cubicBezTo>
                      <a:pt x="35" y="43"/>
                      <a:pt x="44" y="46"/>
                      <a:pt x="49" y="42"/>
                    </a:cubicBezTo>
                    <a:cubicBezTo>
                      <a:pt x="47" y="37"/>
                      <a:pt x="35" y="42"/>
                      <a:pt x="28" y="40"/>
                    </a:cubicBezTo>
                    <a:cubicBezTo>
                      <a:pt x="27" y="40"/>
                      <a:pt x="26" y="38"/>
                      <a:pt x="26" y="38"/>
                    </a:cubicBezTo>
                    <a:cubicBezTo>
                      <a:pt x="25" y="38"/>
                      <a:pt x="23" y="40"/>
                      <a:pt x="21" y="40"/>
                    </a:cubicBezTo>
                    <a:cubicBezTo>
                      <a:pt x="17" y="40"/>
                      <a:pt x="13" y="37"/>
                      <a:pt x="10" y="38"/>
                    </a:cubicBezTo>
                    <a:cubicBezTo>
                      <a:pt x="5" y="32"/>
                      <a:pt x="19" y="34"/>
                      <a:pt x="19" y="31"/>
                    </a:cubicBezTo>
                    <a:cubicBezTo>
                      <a:pt x="19" y="27"/>
                      <a:pt x="23" y="30"/>
                      <a:pt x="24" y="31"/>
                    </a:cubicBezTo>
                    <a:cubicBezTo>
                      <a:pt x="24" y="20"/>
                      <a:pt x="13" y="30"/>
                      <a:pt x="4" y="27"/>
                    </a:cubicBezTo>
                    <a:cubicBezTo>
                      <a:pt x="0" y="24"/>
                      <a:pt x="8" y="21"/>
                      <a:pt x="0" y="21"/>
                    </a:cubicBezTo>
                    <a:cubicBezTo>
                      <a:pt x="2" y="18"/>
                      <a:pt x="2" y="12"/>
                      <a:pt x="10" y="14"/>
                    </a:cubicBezTo>
                    <a:cubicBezTo>
                      <a:pt x="12" y="14"/>
                      <a:pt x="10" y="11"/>
                      <a:pt x="10" y="12"/>
                    </a:cubicBezTo>
                    <a:cubicBezTo>
                      <a:pt x="13" y="7"/>
                      <a:pt x="21" y="6"/>
                      <a:pt x="28" y="4"/>
                    </a:cubicBezTo>
                    <a:cubicBezTo>
                      <a:pt x="30" y="3"/>
                      <a:pt x="30" y="0"/>
                      <a:pt x="34" y="1"/>
                    </a:cubicBezTo>
                    <a:cubicBezTo>
                      <a:pt x="34" y="3"/>
                      <a:pt x="36" y="2"/>
                      <a:pt x="37" y="3"/>
                    </a:cubicBezTo>
                    <a:cubicBezTo>
                      <a:pt x="37" y="7"/>
                      <a:pt x="34" y="10"/>
                      <a:pt x="41" y="10"/>
                    </a:cubicBezTo>
                    <a:cubicBezTo>
                      <a:pt x="41" y="12"/>
                      <a:pt x="39" y="11"/>
                      <a:pt x="37" y="12"/>
                    </a:cubicBezTo>
                    <a:cubicBezTo>
                      <a:pt x="37" y="13"/>
                      <a:pt x="40" y="14"/>
                      <a:pt x="41" y="14"/>
                    </a:cubicBezTo>
                    <a:cubicBezTo>
                      <a:pt x="43" y="13"/>
                      <a:pt x="42" y="10"/>
                      <a:pt x="43" y="10"/>
                    </a:cubicBezTo>
                    <a:cubicBezTo>
                      <a:pt x="47" y="8"/>
                      <a:pt x="50" y="9"/>
                      <a:pt x="54" y="8"/>
                    </a:cubicBezTo>
                    <a:cubicBezTo>
                      <a:pt x="56" y="11"/>
                      <a:pt x="60" y="12"/>
                      <a:pt x="60" y="17"/>
                    </a:cubicBezTo>
                    <a:cubicBezTo>
                      <a:pt x="64" y="17"/>
                      <a:pt x="62" y="12"/>
                      <a:pt x="67" y="14"/>
                    </a:cubicBezTo>
                    <a:cubicBezTo>
                      <a:pt x="69" y="12"/>
                      <a:pt x="71" y="10"/>
                      <a:pt x="73" y="8"/>
                    </a:cubicBezTo>
                    <a:cubicBezTo>
                      <a:pt x="74" y="9"/>
                      <a:pt x="76" y="10"/>
                      <a:pt x="79" y="10"/>
                    </a:cubicBezTo>
                    <a:cubicBezTo>
                      <a:pt x="80" y="13"/>
                      <a:pt x="79" y="15"/>
                      <a:pt x="80" y="17"/>
                    </a:cubicBezTo>
                    <a:cubicBezTo>
                      <a:pt x="81" y="20"/>
                      <a:pt x="86" y="20"/>
                      <a:pt x="84" y="25"/>
                    </a:cubicBezTo>
                    <a:cubicBezTo>
                      <a:pt x="88" y="24"/>
                      <a:pt x="88" y="20"/>
                      <a:pt x="92" y="19"/>
                    </a:cubicBezTo>
                    <a:cubicBezTo>
                      <a:pt x="91" y="17"/>
                      <a:pt x="87" y="17"/>
                      <a:pt x="86" y="16"/>
                    </a:cubicBezTo>
                    <a:cubicBezTo>
                      <a:pt x="84" y="12"/>
                      <a:pt x="87" y="9"/>
                      <a:pt x="86" y="4"/>
                    </a:cubicBezTo>
                    <a:cubicBezTo>
                      <a:pt x="89" y="5"/>
                      <a:pt x="90" y="2"/>
                      <a:pt x="93" y="3"/>
                    </a:cubicBezTo>
                    <a:cubicBezTo>
                      <a:pt x="94" y="6"/>
                      <a:pt x="98" y="11"/>
                      <a:pt x="101" y="16"/>
                    </a:cubicBezTo>
                    <a:cubicBezTo>
                      <a:pt x="101" y="16"/>
                      <a:pt x="105" y="24"/>
                      <a:pt x="106" y="19"/>
                    </a:cubicBezTo>
                    <a:cubicBezTo>
                      <a:pt x="109" y="20"/>
                      <a:pt x="107" y="25"/>
                      <a:pt x="110" y="25"/>
                    </a:cubicBezTo>
                    <a:cubicBezTo>
                      <a:pt x="110" y="28"/>
                      <a:pt x="110" y="30"/>
                      <a:pt x="108" y="31"/>
                    </a:cubicBezTo>
                    <a:cubicBezTo>
                      <a:pt x="109" y="34"/>
                      <a:pt x="116" y="32"/>
                      <a:pt x="114" y="38"/>
                    </a:cubicBezTo>
                    <a:cubicBezTo>
                      <a:pt x="121" y="34"/>
                      <a:pt x="121" y="41"/>
                      <a:pt x="131" y="40"/>
                    </a:cubicBezTo>
                    <a:cubicBezTo>
                      <a:pt x="127" y="47"/>
                      <a:pt x="135" y="44"/>
                      <a:pt x="136" y="45"/>
                    </a:cubicBezTo>
                    <a:cubicBezTo>
                      <a:pt x="137" y="46"/>
                      <a:pt x="133" y="51"/>
                      <a:pt x="138" y="49"/>
                    </a:cubicBezTo>
                    <a:cubicBezTo>
                      <a:pt x="135" y="58"/>
                      <a:pt x="131" y="47"/>
                      <a:pt x="123" y="49"/>
                    </a:cubicBezTo>
                    <a:cubicBezTo>
                      <a:pt x="121" y="56"/>
                      <a:pt x="130" y="54"/>
                      <a:pt x="127" y="62"/>
                    </a:cubicBezTo>
                    <a:cubicBezTo>
                      <a:pt x="120" y="64"/>
                      <a:pt x="112" y="66"/>
                      <a:pt x="106" y="62"/>
                    </a:cubicBezTo>
                    <a:cubicBezTo>
                      <a:pt x="100" y="58"/>
                      <a:pt x="88" y="57"/>
                      <a:pt x="80" y="62"/>
                    </a:cubicBezTo>
                    <a:cubicBezTo>
                      <a:pt x="78" y="63"/>
                      <a:pt x="76" y="62"/>
                      <a:pt x="71" y="64"/>
                    </a:cubicBezTo>
                    <a:cubicBezTo>
                      <a:pt x="69" y="65"/>
                      <a:pt x="69" y="66"/>
                      <a:pt x="69" y="68"/>
                    </a:cubicBezTo>
                    <a:cubicBezTo>
                      <a:pt x="64" y="65"/>
                      <a:pt x="54" y="70"/>
                      <a:pt x="45" y="68"/>
                    </a:cubicBezTo>
                    <a:cubicBezTo>
                      <a:pt x="43" y="64"/>
                      <a:pt x="40" y="61"/>
                      <a:pt x="37" y="57"/>
                    </a:cubicBezTo>
                    <a:cubicBezTo>
                      <a:pt x="32" y="56"/>
                      <a:pt x="23" y="59"/>
                      <a:pt x="23" y="53"/>
                    </a:cubicBezTo>
                    <a:cubicBezTo>
                      <a:pt x="21" y="53"/>
                      <a:pt x="21" y="54"/>
                      <a:pt x="21" y="55"/>
                    </a:cubicBezTo>
                    <a:cubicBezTo>
                      <a:pt x="18" y="54"/>
                      <a:pt x="19" y="51"/>
                      <a:pt x="21" y="51"/>
                    </a:cubicBezTo>
                    <a:cubicBezTo>
                      <a:pt x="21" y="47"/>
                      <a:pt x="15" y="51"/>
                      <a:pt x="15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1E5A3D90-AE52-4888-97F5-671A33BBF6AE}"/>
                  </a:ext>
                </a:extLst>
              </p:cNvPr>
              <p:cNvSpPr/>
              <p:nvPr/>
            </p:nvSpPr>
            <p:spPr bwMode="auto">
              <a:xfrm>
                <a:off x="3011299" y="807105"/>
                <a:ext cx="2054948" cy="2382730"/>
              </a:xfrm>
              <a:custGeom>
                <a:avLst/>
                <a:gdLst>
                  <a:gd name="T0" fmla="*/ 647 w 988"/>
                  <a:gd name="T1" fmla="*/ 75 h 1146"/>
                  <a:gd name="T2" fmla="*/ 582 w 988"/>
                  <a:gd name="T3" fmla="*/ 120 h 1146"/>
                  <a:gd name="T4" fmla="*/ 574 w 988"/>
                  <a:gd name="T5" fmla="*/ 187 h 1146"/>
                  <a:gd name="T6" fmla="*/ 654 w 988"/>
                  <a:gd name="T7" fmla="*/ 241 h 1146"/>
                  <a:gd name="T8" fmla="*/ 680 w 988"/>
                  <a:gd name="T9" fmla="*/ 168 h 1146"/>
                  <a:gd name="T10" fmla="*/ 748 w 988"/>
                  <a:gd name="T11" fmla="*/ 166 h 1146"/>
                  <a:gd name="T12" fmla="*/ 809 w 988"/>
                  <a:gd name="T13" fmla="*/ 183 h 1146"/>
                  <a:gd name="T14" fmla="*/ 833 w 988"/>
                  <a:gd name="T15" fmla="*/ 247 h 1146"/>
                  <a:gd name="T16" fmla="*/ 757 w 988"/>
                  <a:gd name="T17" fmla="*/ 274 h 1146"/>
                  <a:gd name="T18" fmla="*/ 804 w 988"/>
                  <a:gd name="T19" fmla="*/ 302 h 1146"/>
                  <a:gd name="T20" fmla="*/ 785 w 988"/>
                  <a:gd name="T21" fmla="*/ 312 h 1146"/>
                  <a:gd name="T22" fmla="*/ 701 w 988"/>
                  <a:gd name="T23" fmla="*/ 373 h 1146"/>
                  <a:gd name="T24" fmla="*/ 666 w 988"/>
                  <a:gd name="T25" fmla="*/ 478 h 1146"/>
                  <a:gd name="T26" fmla="*/ 593 w 988"/>
                  <a:gd name="T27" fmla="*/ 437 h 1146"/>
                  <a:gd name="T28" fmla="*/ 535 w 988"/>
                  <a:gd name="T29" fmla="*/ 515 h 1146"/>
                  <a:gd name="T30" fmla="*/ 600 w 988"/>
                  <a:gd name="T31" fmla="*/ 547 h 1146"/>
                  <a:gd name="T32" fmla="*/ 692 w 988"/>
                  <a:gd name="T33" fmla="*/ 608 h 1146"/>
                  <a:gd name="T34" fmla="*/ 766 w 988"/>
                  <a:gd name="T35" fmla="*/ 597 h 1146"/>
                  <a:gd name="T36" fmla="*/ 884 w 988"/>
                  <a:gd name="T37" fmla="*/ 647 h 1146"/>
                  <a:gd name="T38" fmla="*/ 988 w 988"/>
                  <a:gd name="T39" fmla="*/ 711 h 1146"/>
                  <a:gd name="T40" fmla="*/ 943 w 988"/>
                  <a:gd name="T41" fmla="*/ 854 h 1146"/>
                  <a:gd name="T42" fmla="*/ 885 w 988"/>
                  <a:gd name="T43" fmla="*/ 918 h 1146"/>
                  <a:gd name="T44" fmla="*/ 830 w 988"/>
                  <a:gd name="T45" fmla="*/ 979 h 1146"/>
                  <a:gd name="T46" fmla="*/ 779 w 988"/>
                  <a:gd name="T47" fmla="*/ 1037 h 1146"/>
                  <a:gd name="T48" fmla="*/ 757 w 988"/>
                  <a:gd name="T49" fmla="*/ 1082 h 1146"/>
                  <a:gd name="T50" fmla="*/ 716 w 988"/>
                  <a:gd name="T51" fmla="*/ 1126 h 1146"/>
                  <a:gd name="T52" fmla="*/ 703 w 988"/>
                  <a:gd name="T53" fmla="*/ 1065 h 1146"/>
                  <a:gd name="T54" fmla="*/ 735 w 988"/>
                  <a:gd name="T55" fmla="*/ 936 h 1146"/>
                  <a:gd name="T56" fmla="*/ 731 w 988"/>
                  <a:gd name="T57" fmla="*/ 813 h 1146"/>
                  <a:gd name="T58" fmla="*/ 666 w 988"/>
                  <a:gd name="T59" fmla="*/ 729 h 1146"/>
                  <a:gd name="T60" fmla="*/ 679 w 988"/>
                  <a:gd name="T61" fmla="*/ 660 h 1146"/>
                  <a:gd name="T62" fmla="*/ 621 w 988"/>
                  <a:gd name="T63" fmla="*/ 588 h 1146"/>
                  <a:gd name="T64" fmla="*/ 559 w 988"/>
                  <a:gd name="T65" fmla="*/ 550 h 1146"/>
                  <a:gd name="T66" fmla="*/ 464 w 988"/>
                  <a:gd name="T67" fmla="*/ 496 h 1146"/>
                  <a:gd name="T68" fmla="*/ 410 w 988"/>
                  <a:gd name="T69" fmla="*/ 440 h 1146"/>
                  <a:gd name="T70" fmla="*/ 410 w 988"/>
                  <a:gd name="T71" fmla="*/ 463 h 1146"/>
                  <a:gd name="T72" fmla="*/ 354 w 988"/>
                  <a:gd name="T73" fmla="*/ 392 h 1146"/>
                  <a:gd name="T74" fmla="*/ 319 w 988"/>
                  <a:gd name="T75" fmla="*/ 267 h 1146"/>
                  <a:gd name="T76" fmla="*/ 298 w 988"/>
                  <a:gd name="T77" fmla="*/ 233 h 1146"/>
                  <a:gd name="T78" fmla="*/ 244 w 988"/>
                  <a:gd name="T79" fmla="*/ 174 h 1146"/>
                  <a:gd name="T80" fmla="*/ 151 w 988"/>
                  <a:gd name="T81" fmla="*/ 144 h 1146"/>
                  <a:gd name="T82" fmla="*/ 105 w 988"/>
                  <a:gd name="T83" fmla="*/ 168 h 1146"/>
                  <a:gd name="T84" fmla="*/ 58 w 988"/>
                  <a:gd name="T85" fmla="*/ 198 h 1146"/>
                  <a:gd name="T86" fmla="*/ 24 w 988"/>
                  <a:gd name="T87" fmla="*/ 153 h 1146"/>
                  <a:gd name="T88" fmla="*/ 9 w 988"/>
                  <a:gd name="T89" fmla="*/ 97 h 1146"/>
                  <a:gd name="T90" fmla="*/ 28 w 988"/>
                  <a:gd name="T91" fmla="*/ 62 h 1146"/>
                  <a:gd name="T92" fmla="*/ 95 w 988"/>
                  <a:gd name="T93" fmla="*/ 21 h 1146"/>
                  <a:gd name="T94" fmla="*/ 255 w 988"/>
                  <a:gd name="T95" fmla="*/ 38 h 1146"/>
                  <a:gd name="T96" fmla="*/ 332 w 988"/>
                  <a:gd name="T97" fmla="*/ 41 h 1146"/>
                  <a:gd name="T98" fmla="*/ 451 w 988"/>
                  <a:gd name="T99" fmla="*/ 73 h 1146"/>
                  <a:gd name="T100" fmla="*/ 537 w 988"/>
                  <a:gd name="T101" fmla="*/ 53 h 1146"/>
                  <a:gd name="T102" fmla="*/ 561 w 988"/>
                  <a:gd name="T103" fmla="*/ 12 h 1146"/>
                  <a:gd name="T104" fmla="*/ 606 w 988"/>
                  <a:gd name="T105" fmla="*/ 51 h 1146"/>
                  <a:gd name="T106" fmla="*/ 324 w 988"/>
                  <a:gd name="T107" fmla="*/ 86 h 1146"/>
                  <a:gd name="T108" fmla="*/ 418 w 988"/>
                  <a:gd name="T109" fmla="*/ 135 h 1146"/>
                  <a:gd name="T110" fmla="*/ 403 w 988"/>
                  <a:gd name="T111" fmla="*/ 133 h 1146"/>
                  <a:gd name="T112" fmla="*/ 533 w 988"/>
                  <a:gd name="T113" fmla="*/ 250 h 1146"/>
                  <a:gd name="T114" fmla="*/ 576 w 988"/>
                  <a:gd name="T115" fmla="*/ 295 h 1146"/>
                  <a:gd name="T116" fmla="*/ 613 w 988"/>
                  <a:gd name="T117" fmla="*/ 271 h 1146"/>
                  <a:gd name="T118" fmla="*/ 606 w 988"/>
                  <a:gd name="T119" fmla="*/ 340 h 1146"/>
                  <a:gd name="T120" fmla="*/ 671 w 988"/>
                  <a:gd name="T121" fmla="*/ 317 h 1146"/>
                  <a:gd name="T122" fmla="*/ 653 w 988"/>
                  <a:gd name="T123" fmla="*/ 338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8" h="1146">
                    <a:moveTo>
                      <a:pt x="602" y="62"/>
                    </a:moveTo>
                    <a:cubicBezTo>
                      <a:pt x="603" y="66"/>
                      <a:pt x="608" y="59"/>
                      <a:pt x="606" y="68"/>
                    </a:cubicBezTo>
                    <a:cubicBezTo>
                      <a:pt x="608" y="68"/>
                      <a:pt x="610" y="68"/>
                      <a:pt x="612" y="68"/>
                    </a:cubicBezTo>
                    <a:cubicBezTo>
                      <a:pt x="614" y="66"/>
                      <a:pt x="616" y="63"/>
                      <a:pt x="615" y="58"/>
                    </a:cubicBezTo>
                    <a:cubicBezTo>
                      <a:pt x="618" y="57"/>
                      <a:pt x="619" y="56"/>
                      <a:pt x="619" y="53"/>
                    </a:cubicBezTo>
                    <a:cubicBezTo>
                      <a:pt x="625" y="55"/>
                      <a:pt x="620" y="47"/>
                      <a:pt x="626" y="49"/>
                    </a:cubicBezTo>
                    <a:cubicBezTo>
                      <a:pt x="626" y="45"/>
                      <a:pt x="626" y="40"/>
                      <a:pt x="626" y="36"/>
                    </a:cubicBezTo>
                    <a:cubicBezTo>
                      <a:pt x="633" y="35"/>
                      <a:pt x="636" y="34"/>
                      <a:pt x="641" y="36"/>
                    </a:cubicBezTo>
                    <a:cubicBezTo>
                      <a:pt x="643" y="37"/>
                      <a:pt x="642" y="40"/>
                      <a:pt x="643" y="41"/>
                    </a:cubicBezTo>
                    <a:cubicBezTo>
                      <a:pt x="644" y="42"/>
                      <a:pt x="646" y="41"/>
                      <a:pt x="647" y="41"/>
                    </a:cubicBezTo>
                    <a:cubicBezTo>
                      <a:pt x="649" y="42"/>
                      <a:pt x="650" y="45"/>
                      <a:pt x="653" y="45"/>
                    </a:cubicBezTo>
                    <a:cubicBezTo>
                      <a:pt x="653" y="51"/>
                      <a:pt x="650" y="53"/>
                      <a:pt x="647" y="55"/>
                    </a:cubicBezTo>
                    <a:cubicBezTo>
                      <a:pt x="651" y="57"/>
                      <a:pt x="649" y="64"/>
                      <a:pt x="654" y="66"/>
                    </a:cubicBezTo>
                    <a:cubicBezTo>
                      <a:pt x="653" y="70"/>
                      <a:pt x="648" y="71"/>
                      <a:pt x="647" y="75"/>
                    </a:cubicBezTo>
                    <a:cubicBezTo>
                      <a:pt x="644" y="75"/>
                      <a:pt x="642" y="78"/>
                      <a:pt x="641" y="75"/>
                    </a:cubicBezTo>
                    <a:cubicBezTo>
                      <a:pt x="638" y="77"/>
                      <a:pt x="638" y="82"/>
                      <a:pt x="636" y="84"/>
                    </a:cubicBezTo>
                    <a:cubicBezTo>
                      <a:pt x="634" y="83"/>
                      <a:pt x="637" y="79"/>
                      <a:pt x="628" y="81"/>
                    </a:cubicBezTo>
                    <a:cubicBezTo>
                      <a:pt x="628" y="79"/>
                      <a:pt x="631" y="79"/>
                      <a:pt x="632" y="79"/>
                    </a:cubicBezTo>
                    <a:cubicBezTo>
                      <a:pt x="628" y="73"/>
                      <a:pt x="621" y="81"/>
                      <a:pt x="615" y="79"/>
                    </a:cubicBezTo>
                    <a:cubicBezTo>
                      <a:pt x="617" y="85"/>
                      <a:pt x="615" y="83"/>
                      <a:pt x="615" y="90"/>
                    </a:cubicBezTo>
                    <a:cubicBezTo>
                      <a:pt x="613" y="90"/>
                      <a:pt x="614" y="88"/>
                      <a:pt x="613" y="86"/>
                    </a:cubicBezTo>
                    <a:cubicBezTo>
                      <a:pt x="609" y="87"/>
                      <a:pt x="610" y="93"/>
                      <a:pt x="604" y="92"/>
                    </a:cubicBezTo>
                    <a:cubicBezTo>
                      <a:pt x="605" y="94"/>
                      <a:pt x="608" y="93"/>
                      <a:pt x="608" y="96"/>
                    </a:cubicBezTo>
                    <a:cubicBezTo>
                      <a:pt x="608" y="99"/>
                      <a:pt x="606" y="100"/>
                      <a:pt x="606" y="103"/>
                    </a:cubicBezTo>
                    <a:cubicBezTo>
                      <a:pt x="602" y="99"/>
                      <a:pt x="596" y="110"/>
                      <a:pt x="595" y="109"/>
                    </a:cubicBezTo>
                    <a:cubicBezTo>
                      <a:pt x="594" y="108"/>
                      <a:pt x="591" y="106"/>
                      <a:pt x="591" y="112"/>
                    </a:cubicBezTo>
                    <a:cubicBezTo>
                      <a:pt x="589" y="112"/>
                      <a:pt x="586" y="112"/>
                      <a:pt x="584" y="112"/>
                    </a:cubicBezTo>
                    <a:cubicBezTo>
                      <a:pt x="581" y="113"/>
                      <a:pt x="582" y="117"/>
                      <a:pt x="582" y="120"/>
                    </a:cubicBezTo>
                    <a:cubicBezTo>
                      <a:pt x="579" y="118"/>
                      <a:pt x="578" y="118"/>
                      <a:pt x="578" y="122"/>
                    </a:cubicBezTo>
                    <a:cubicBezTo>
                      <a:pt x="574" y="118"/>
                      <a:pt x="573" y="121"/>
                      <a:pt x="569" y="122"/>
                    </a:cubicBezTo>
                    <a:cubicBezTo>
                      <a:pt x="570" y="123"/>
                      <a:pt x="571" y="126"/>
                      <a:pt x="571" y="129"/>
                    </a:cubicBezTo>
                    <a:cubicBezTo>
                      <a:pt x="566" y="125"/>
                      <a:pt x="568" y="130"/>
                      <a:pt x="565" y="135"/>
                    </a:cubicBezTo>
                    <a:cubicBezTo>
                      <a:pt x="563" y="139"/>
                      <a:pt x="558" y="143"/>
                      <a:pt x="557" y="151"/>
                    </a:cubicBezTo>
                    <a:cubicBezTo>
                      <a:pt x="553" y="154"/>
                      <a:pt x="551" y="159"/>
                      <a:pt x="548" y="163"/>
                    </a:cubicBezTo>
                    <a:cubicBezTo>
                      <a:pt x="548" y="166"/>
                      <a:pt x="550" y="163"/>
                      <a:pt x="550" y="163"/>
                    </a:cubicBezTo>
                    <a:cubicBezTo>
                      <a:pt x="552" y="163"/>
                      <a:pt x="551" y="164"/>
                      <a:pt x="552" y="165"/>
                    </a:cubicBezTo>
                    <a:cubicBezTo>
                      <a:pt x="553" y="165"/>
                      <a:pt x="555" y="168"/>
                      <a:pt x="556" y="168"/>
                    </a:cubicBezTo>
                    <a:cubicBezTo>
                      <a:pt x="557" y="169"/>
                      <a:pt x="559" y="164"/>
                      <a:pt x="563" y="168"/>
                    </a:cubicBezTo>
                    <a:cubicBezTo>
                      <a:pt x="564" y="169"/>
                      <a:pt x="565" y="170"/>
                      <a:pt x="567" y="170"/>
                    </a:cubicBezTo>
                    <a:cubicBezTo>
                      <a:pt x="567" y="173"/>
                      <a:pt x="567" y="175"/>
                      <a:pt x="567" y="178"/>
                    </a:cubicBezTo>
                    <a:cubicBezTo>
                      <a:pt x="567" y="180"/>
                      <a:pt x="570" y="179"/>
                      <a:pt x="571" y="181"/>
                    </a:cubicBezTo>
                    <a:cubicBezTo>
                      <a:pt x="572" y="183"/>
                      <a:pt x="575" y="183"/>
                      <a:pt x="574" y="187"/>
                    </a:cubicBezTo>
                    <a:cubicBezTo>
                      <a:pt x="584" y="186"/>
                      <a:pt x="591" y="189"/>
                      <a:pt x="597" y="187"/>
                    </a:cubicBezTo>
                    <a:cubicBezTo>
                      <a:pt x="598" y="194"/>
                      <a:pt x="606" y="192"/>
                      <a:pt x="610" y="196"/>
                    </a:cubicBezTo>
                    <a:cubicBezTo>
                      <a:pt x="611" y="197"/>
                      <a:pt x="611" y="196"/>
                      <a:pt x="612" y="198"/>
                    </a:cubicBezTo>
                    <a:cubicBezTo>
                      <a:pt x="612" y="201"/>
                      <a:pt x="614" y="198"/>
                      <a:pt x="613" y="198"/>
                    </a:cubicBezTo>
                    <a:cubicBezTo>
                      <a:pt x="616" y="198"/>
                      <a:pt x="616" y="201"/>
                      <a:pt x="617" y="202"/>
                    </a:cubicBezTo>
                    <a:cubicBezTo>
                      <a:pt x="620" y="203"/>
                      <a:pt x="624" y="201"/>
                      <a:pt x="623" y="206"/>
                    </a:cubicBezTo>
                    <a:cubicBezTo>
                      <a:pt x="633" y="205"/>
                      <a:pt x="638" y="209"/>
                      <a:pt x="647" y="209"/>
                    </a:cubicBezTo>
                    <a:cubicBezTo>
                      <a:pt x="647" y="215"/>
                      <a:pt x="646" y="221"/>
                      <a:pt x="649" y="224"/>
                    </a:cubicBezTo>
                    <a:cubicBezTo>
                      <a:pt x="649" y="224"/>
                      <a:pt x="651" y="227"/>
                      <a:pt x="651" y="226"/>
                    </a:cubicBezTo>
                    <a:cubicBezTo>
                      <a:pt x="651" y="228"/>
                      <a:pt x="649" y="230"/>
                      <a:pt x="649" y="230"/>
                    </a:cubicBezTo>
                    <a:cubicBezTo>
                      <a:pt x="650" y="232"/>
                      <a:pt x="651" y="230"/>
                      <a:pt x="653" y="232"/>
                    </a:cubicBezTo>
                    <a:cubicBezTo>
                      <a:pt x="653" y="232"/>
                      <a:pt x="649" y="237"/>
                      <a:pt x="654" y="235"/>
                    </a:cubicBezTo>
                    <a:cubicBezTo>
                      <a:pt x="653" y="237"/>
                      <a:pt x="652" y="238"/>
                      <a:pt x="653" y="241"/>
                    </a:cubicBezTo>
                    <a:cubicBezTo>
                      <a:pt x="653" y="243"/>
                      <a:pt x="654" y="242"/>
                      <a:pt x="654" y="241"/>
                    </a:cubicBezTo>
                    <a:cubicBezTo>
                      <a:pt x="657" y="241"/>
                      <a:pt x="655" y="244"/>
                      <a:pt x="656" y="245"/>
                    </a:cubicBezTo>
                    <a:cubicBezTo>
                      <a:pt x="657" y="245"/>
                      <a:pt x="659" y="244"/>
                      <a:pt x="660" y="245"/>
                    </a:cubicBezTo>
                    <a:cubicBezTo>
                      <a:pt x="662" y="247"/>
                      <a:pt x="669" y="247"/>
                      <a:pt x="675" y="245"/>
                    </a:cubicBezTo>
                    <a:cubicBezTo>
                      <a:pt x="677" y="237"/>
                      <a:pt x="677" y="233"/>
                      <a:pt x="675" y="226"/>
                    </a:cubicBezTo>
                    <a:cubicBezTo>
                      <a:pt x="676" y="224"/>
                      <a:pt x="672" y="225"/>
                      <a:pt x="671" y="224"/>
                    </a:cubicBezTo>
                    <a:cubicBezTo>
                      <a:pt x="669" y="221"/>
                      <a:pt x="674" y="215"/>
                      <a:pt x="667" y="217"/>
                    </a:cubicBezTo>
                    <a:cubicBezTo>
                      <a:pt x="669" y="215"/>
                      <a:pt x="672" y="215"/>
                      <a:pt x="671" y="211"/>
                    </a:cubicBezTo>
                    <a:cubicBezTo>
                      <a:pt x="679" y="213"/>
                      <a:pt x="678" y="207"/>
                      <a:pt x="684" y="207"/>
                    </a:cubicBezTo>
                    <a:cubicBezTo>
                      <a:pt x="687" y="208"/>
                      <a:pt x="685" y="203"/>
                      <a:pt x="686" y="202"/>
                    </a:cubicBezTo>
                    <a:cubicBezTo>
                      <a:pt x="686" y="202"/>
                      <a:pt x="691" y="204"/>
                      <a:pt x="692" y="202"/>
                    </a:cubicBezTo>
                    <a:cubicBezTo>
                      <a:pt x="687" y="194"/>
                      <a:pt x="694" y="186"/>
                      <a:pt x="690" y="181"/>
                    </a:cubicBezTo>
                    <a:cubicBezTo>
                      <a:pt x="690" y="179"/>
                      <a:pt x="687" y="181"/>
                      <a:pt x="688" y="181"/>
                    </a:cubicBezTo>
                    <a:cubicBezTo>
                      <a:pt x="685" y="179"/>
                      <a:pt x="688" y="175"/>
                      <a:pt x="682" y="176"/>
                    </a:cubicBezTo>
                    <a:cubicBezTo>
                      <a:pt x="683" y="172"/>
                      <a:pt x="680" y="172"/>
                      <a:pt x="680" y="168"/>
                    </a:cubicBezTo>
                    <a:cubicBezTo>
                      <a:pt x="680" y="164"/>
                      <a:pt x="682" y="162"/>
                      <a:pt x="686" y="163"/>
                    </a:cubicBezTo>
                    <a:cubicBezTo>
                      <a:pt x="683" y="161"/>
                      <a:pt x="688" y="150"/>
                      <a:pt x="680" y="150"/>
                    </a:cubicBezTo>
                    <a:cubicBezTo>
                      <a:pt x="682" y="148"/>
                      <a:pt x="682" y="147"/>
                      <a:pt x="682" y="144"/>
                    </a:cubicBezTo>
                    <a:cubicBezTo>
                      <a:pt x="682" y="144"/>
                      <a:pt x="680" y="143"/>
                      <a:pt x="680" y="142"/>
                    </a:cubicBezTo>
                    <a:cubicBezTo>
                      <a:pt x="681" y="142"/>
                      <a:pt x="683" y="142"/>
                      <a:pt x="682" y="140"/>
                    </a:cubicBezTo>
                    <a:cubicBezTo>
                      <a:pt x="682" y="139"/>
                      <a:pt x="680" y="138"/>
                      <a:pt x="680" y="137"/>
                    </a:cubicBezTo>
                    <a:cubicBezTo>
                      <a:pt x="680" y="134"/>
                      <a:pt x="684" y="130"/>
                      <a:pt x="680" y="129"/>
                    </a:cubicBezTo>
                    <a:cubicBezTo>
                      <a:pt x="681" y="126"/>
                      <a:pt x="696" y="125"/>
                      <a:pt x="694" y="131"/>
                    </a:cubicBezTo>
                    <a:cubicBezTo>
                      <a:pt x="701" y="131"/>
                      <a:pt x="711" y="133"/>
                      <a:pt x="714" y="127"/>
                    </a:cubicBezTo>
                    <a:cubicBezTo>
                      <a:pt x="718" y="132"/>
                      <a:pt x="728" y="132"/>
                      <a:pt x="727" y="142"/>
                    </a:cubicBezTo>
                    <a:cubicBezTo>
                      <a:pt x="732" y="142"/>
                      <a:pt x="737" y="142"/>
                      <a:pt x="742" y="142"/>
                    </a:cubicBezTo>
                    <a:cubicBezTo>
                      <a:pt x="741" y="145"/>
                      <a:pt x="743" y="146"/>
                      <a:pt x="746" y="146"/>
                    </a:cubicBezTo>
                    <a:cubicBezTo>
                      <a:pt x="746" y="150"/>
                      <a:pt x="745" y="153"/>
                      <a:pt x="746" y="157"/>
                    </a:cubicBezTo>
                    <a:cubicBezTo>
                      <a:pt x="746" y="161"/>
                      <a:pt x="751" y="165"/>
                      <a:pt x="748" y="166"/>
                    </a:cubicBezTo>
                    <a:cubicBezTo>
                      <a:pt x="748" y="169"/>
                      <a:pt x="751" y="168"/>
                      <a:pt x="753" y="168"/>
                    </a:cubicBezTo>
                    <a:cubicBezTo>
                      <a:pt x="752" y="174"/>
                      <a:pt x="760" y="171"/>
                      <a:pt x="755" y="176"/>
                    </a:cubicBezTo>
                    <a:cubicBezTo>
                      <a:pt x="763" y="177"/>
                      <a:pt x="765" y="173"/>
                      <a:pt x="772" y="174"/>
                    </a:cubicBezTo>
                    <a:cubicBezTo>
                      <a:pt x="772" y="172"/>
                      <a:pt x="771" y="171"/>
                      <a:pt x="770" y="170"/>
                    </a:cubicBezTo>
                    <a:cubicBezTo>
                      <a:pt x="771" y="166"/>
                      <a:pt x="773" y="166"/>
                      <a:pt x="776" y="168"/>
                    </a:cubicBezTo>
                    <a:cubicBezTo>
                      <a:pt x="773" y="162"/>
                      <a:pt x="780" y="163"/>
                      <a:pt x="781" y="161"/>
                    </a:cubicBezTo>
                    <a:cubicBezTo>
                      <a:pt x="782" y="159"/>
                      <a:pt x="779" y="159"/>
                      <a:pt x="779" y="159"/>
                    </a:cubicBezTo>
                    <a:cubicBezTo>
                      <a:pt x="779" y="157"/>
                      <a:pt x="783" y="156"/>
                      <a:pt x="787" y="155"/>
                    </a:cubicBezTo>
                    <a:cubicBezTo>
                      <a:pt x="783" y="159"/>
                      <a:pt x="786" y="159"/>
                      <a:pt x="790" y="165"/>
                    </a:cubicBezTo>
                    <a:cubicBezTo>
                      <a:pt x="793" y="167"/>
                      <a:pt x="795" y="172"/>
                      <a:pt x="802" y="172"/>
                    </a:cubicBezTo>
                    <a:cubicBezTo>
                      <a:pt x="801" y="174"/>
                      <a:pt x="798" y="173"/>
                      <a:pt x="798" y="176"/>
                    </a:cubicBezTo>
                    <a:cubicBezTo>
                      <a:pt x="799" y="178"/>
                      <a:pt x="802" y="178"/>
                      <a:pt x="802" y="181"/>
                    </a:cubicBezTo>
                    <a:cubicBezTo>
                      <a:pt x="804" y="182"/>
                      <a:pt x="803" y="178"/>
                      <a:pt x="804" y="178"/>
                    </a:cubicBezTo>
                    <a:cubicBezTo>
                      <a:pt x="808" y="176"/>
                      <a:pt x="802" y="185"/>
                      <a:pt x="809" y="183"/>
                    </a:cubicBezTo>
                    <a:cubicBezTo>
                      <a:pt x="806" y="188"/>
                      <a:pt x="810" y="190"/>
                      <a:pt x="805" y="194"/>
                    </a:cubicBezTo>
                    <a:cubicBezTo>
                      <a:pt x="806" y="198"/>
                      <a:pt x="811" y="196"/>
                      <a:pt x="813" y="198"/>
                    </a:cubicBezTo>
                    <a:cubicBezTo>
                      <a:pt x="813" y="199"/>
                      <a:pt x="810" y="201"/>
                      <a:pt x="811" y="202"/>
                    </a:cubicBezTo>
                    <a:cubicBezTo>
                      <a:pt x="812" y="203"/>
                      <a:pt x="815" y="203"/>
                      <a:pt x="817" y="204"/>
                    </a:cubicBezTo>
                    <a:cubicBezTo>
                      <a:pt x="818" y="204"/>
                      <a:pt x="819" y="207"/>
                      <a:pt x="820" y="207"/>
                    </a:cubicBezTo>
                    <a:cubicBezTo>
                      <a:pt x="823" y="209"/>
                      <a:pt x="827" y="210"/>
                      <a:pt x="830" y="213"/>
                    </a:cubicBezTo>
                    <a:cubicBezTo>
                      <a:pt x="832" y="214"/>
                      <a:pt x="834" y="206"/>
                      <a:pt x="835" y="211"/>
                    </a:cubicBezTo>
                    <a:cubicBezTo>
                      <a:pt x="835" y="216"/>
                      <a:pt x="831" y="216"/>
                      <a:pt x="826" y="217"/>
                    </a:cubicBezTo>
                    <a:cubicBezTo>
                      <a:pt x="829" y="220"/>
                      <a:pt x="835" y="222"/>
                      <a:pt x="841" y="222"/>
                    </a:cubicBezTo>
                    <a:cubicBezTo>
                      <a:pt x="840" y="225"/>
                      <a:pt x="842" y="226"/>
                      <a:pt x="845" y="226"/>
                    </a:cubicBezTo>
                    <a:cubicBezTo>
                      <a:pt x="844" y="230"/>
                      <a:pt x="845" y="232"/>
                      <a:pt x="848" y="232"/>
                    </a:cubicBezTo>
                    <a:cubicBezTo>
                      <a:pt x="847" y="234"/>
                      <a:pt x="846" y="237"/>
                      <a:pt x="846" y="241"/>
                    </a:cubicBezTo>
                    <a:cubicBezTo>
                      <a:pt x="843" y="242"/>
                      <a:pt x="839" y="242"/>
                      <a:pt x="835" y="245"/>
                    </a:cubicBezTo>
                    <a:cubicBezTo>
                      <a:pt x="834" y="245"/>
                      <a:pt x="835" y="246"/>
                      <a:pt x="833" y="247"/>
                    </a:cubicBezTo>
                    <a:cubicBezTo>
                      <a:pt x="831" y="247"/>
                      <a:pt x="830" y="247"/>
                      <a:pt x="830" y="248"/>
                    </a:cubicBezTo>
                    <a:cubicBezTo>
                      <a:pt x="829" y="252"/>
                      <a:pt x="825" y="249"/>
                      <a:pt x="826" y="248"/>
                    </a:cubicBezTo>
                    <a:cubicBezTo>
                      <a:pt x="825" y="249"/>
                      <a:pt x="823" y="251"/>
                      <a:pt x="822" y="252"/>
                    </a:cubicBezTo>
                    <a:cubicBezTo>
                      <a:pt x="822" y="253"/>
                      <a:pt x="821" y="257"/>
                      <a:pt x="820" y="258"/>
                    </a:cubicBezTo>
                    <a:cubicBezTo>
                      <a:pt x="819" y="259"/>
                      <a:pt x="812" y="257"/>
                      <a:pt x="817" y="260"/>
                    </a:cubicBezTo>
                    <a:cubicBezTo>
                      <a:pt x="814" y="263"/>
                      <a:pt x="808" y="261"/>
                      <a:pt x="805" y="261"/>
                    </a:cubicBezTo>
                    <a:cubicBezTo>
                      <a:pt x="801" y="262"/>
                      <a:pt x="798" y="262"/>
                      <a:pt x="794" y="261"/>
                    </a:cubicBezTo>
                    <a:cubicBezTo>
                      <a:pt x="791" y="261"/>
                      <a:pt x="791" y="260"/>
                      <a:pt x="789" y="260"/>
                    </a:cubicBezTo>
                    <a:cubicBezTo>
                      <a:pt x="780" y="258"/>
                      <a:pt x="772" y="260"/>
                      <a:pt x="764" y="261"/>
                    </a:cubicBezTo>
                    <a:cubicBezTo>
                      <a:pt x="758" y="264"/>
                      <a:pt x="756" y="271"/>
                      <a:pt x="748" y="273"/>
                    </a:cubicBezTo>
                    <a:cubicBezTo>
                      <a:pt x="752" y="277"/>
                      <a:pt x="744" y="277"/>
                      <a:pt x="742" y="280"/>
                    </a:cubicBezTo>
                    <a:cubicBezTo>
                      <a:pt x="743" y="282"/>
                      <a:pt x="744" y="283"/>
                      <a:pt x="744" y="286"/>
                    </a:cubicBezTo>
                    <a:cubicBezTo>
                      <a:pt x="747" y="284"/>
                      <a:pt x="747" y="280"/>
                      <a:pt x="749" y="278"/>
                    </a:cubicBezTo>
                    <a:cubicBezTo>
                      <a:pt x="751" y="277"/>
                      <a:pt x="757" y="278"/>
                      <a:pt x="757" y="274"/>
                    </a:cubicBezTo>
                    <a:cubicBezTo>
                      <a:pt x="757" y="268"/>
                      <a:pt x="760" y="279"/>
                      <a:pt x="761" y="271"/>
                    </a:cubicBezTo>
                    <a:cubicBezTo>
                      <a:pt x="763" y="269"/>
                      <a:pt x="764" y="273"/>
                      <a:pt x="764" y="273"/>
                    </a:cubicBezTo>
                    <a:cubicBezTo>
                      <a:pt x="766" y="272"/>
                      <a:pt x="765" y="269"/>
                      <a:pt x="766" y="269"/>
                    </a:cubicBezTo>
                    <a:cubicBezTo>
                      <a:pt x="770" y="268"/>
                      <a:pt x="773" y="269"/>
                      <a:pt x="779" y="269"/>
                    </a:cubicBezTo>
                    <a:cubicBezTo>
                      <a:pt x="780" y="271"/>
                      <a:pt x="781" y="270"/>
                      <a:pt x="781" y="269"/>
                    </a:cubicBezTo>
                    <a:cubicBezTo>
                      <a:pt x="784" y="268"/>
                      <a:pt x="784" y="279"/>
                      <a:pt x="779" y="276"/>
                    </a:cubicBezTo>
                    <a:cubicBezTo>
                      <a:pt x="784" y="281"/>
                      <a:pt x="776" y="282"/>
                      <a:pt x="777" y="289"/>
                    </a:cubicBezTo>
                    <a:cubicBezTo>
                      <a:pt x="778" y="291"/>
                      <a:pt x="779" y="292"/>
                      <a:pt x="779" y="295"/>
                    </a:cubicBezTo>
                    <a:cubicBezTo>
                      <a:pt x="781" y="294"/>
                      <a:pt x="783" y="293"/>
                      <a:pt x="783" y="295"/>
                    </a:cubicBezTo>
                    <a:cubicBezTo>
                      <a:pt x="783" y="297"/>
                      <a:pt x="785" y="296"/>
                      <a:pt x="787" y="297"/>
                    </a:cubicBezTo>
                    <a:cubicBezTo>
                      <a:pt x="788" y="297"/>
                      <a:pt x="790" y="300"/>
                      <a:pt x="790" y="301"/>
                    </a:cubicBezTo>
                    <a:cubicBezTo>
                      <a:pt x="791" y="301"/>
                      <a:pt x="793" y="300"/>
                      <a:pt x="794" y="301"/>
                    </a:cubicBezTo>
                    <a:cubicBezTo>
                      <a:pt x="795" y="301"/>
                      <a:pt x="796" y="302"/>
                      <a:pt x="796" y="302"/>
                    </a:cubicBezTo>
                    <a:cubicBezTo>
                      <a:pt x="799" y="303"/>
                      <a:pt x="801" y="298"/>
                      <a:pt x="804" y="302"/>
                    </a:cubicBezTo>
                    <a:cubicBezTo>
                      <a:pt x="806" y="303"/>
                      <a:pt x="804" y="299"/>
                      <a:pt x="805" y="299"/>
                    </a:cubicBezTo>
                    <a:cubicBezTo>
                      <a:pt x="806" y="298"/>
                      <a:pt x="809" y="299"/>
                      <a:pt x="809" y="299"/>
                    </a:cubicBezTo>
                    <a:cubicBezTo>
                      <a:pt x="810" y="297"/>
                      <a:pt x="808" y="295"/>
                      <a:pt x="809" y="293"/>
                    </a:cubicBezTo>
                    <a:cubicBezTo>
                      <a:pt x="812" y="292"/>
                      <a:pt x="813" y="295"/>
                      <a:pt x="813" y="297"/>
                    </a:cubicBezTo>
                    <a:cubicBezTo>
                      <a:pt x="814" y="300"/>
                      <a:pt x="819" y="298"/>
                      <a:pt x="817" y="304"/>
                    </a:cubicBezTo>
                    <a:cubicBezTo>
                      <a:pt x="814" y="305"/>
                      <a:pt x="813" y="302"/>
                      <a:pt x="811" y="302"/>
                    </a:cubicBezTo>
                    <a:cubicBezTo>
                      <a:pt x="808" y="303"/>
                      <a:pt x="808" y="307"/>
                      <a:pt x="805" y="308"/>
                    </a:cubicBezTo>
                    <a:cubicBezTo>
                      <a:pt x="804" y="309"/>
                      <a:pt x="801" y="308"/>
                      <a:pt x="800" y="308"/>
                    </a:cubicBezTo>
                    <a:cubicBezTo>
                      <a:pt x="796" y="309"/>
                      <a:pt x="797" y="313"/>
                      <a:pt x="790" y="312"/>
                    </a:cubicBezTo>
                    <a:cubicBezTo>
                      <a:pt x="787" y="311"/>
                      <a:pt x="788" y="316"/>
                      <a:pt x="787" y="317"/>
                    </a:cubicBezTo>
                    <a:cubicBezTo>
                      <a:pt x="786" y="318"/>
                      <a:pt x="784" y="316"/>
                      <a:pt x="785" y="315"/>
                    </a:cubicBezTo>
                    <a:cubicBezTo>
                      <a:pt x="781" y="318"/>
                      <a:pt x="782" y="322"/>
                      <a:pt x="776" y="321"/>
                    </a:cubicBezTo>
                    <a:cubicBezTo>
                      <a:pt x="779" y="317"/>
                      <a:pt x="775" y="319"/>
                      <a:pt x="776" y="314"/>
                    </a:cubicBezTo>
                    <a:cubicBezTo>
                      <a:pt x="779" y="312"/>
                      <a:pt x="781" y="308"/>
                      <a:pt x="785" y="312"/>
                    </a:cubicBezTo>
                    <a:cubicBezTo>
                      <a:pt x="786" y="306"/>
                      <a:pt x="782" y="306"/>
                      <a:pt x="779" y="304"/>
                    </a:cubicBezTo>
                    <a:cubicBezTo>
                      <a:pt x="775" y="303"/>
                      <a:pt x="772" y="310"/>
                      <a:pt x="768" y="310"/>
                    </a:cubicBezTo>
                    <a:cubicBezTo>
                      <a:pt x="768" y="310"/>
                      <a:pt x="763" y="311"/>
                      <a:pt x="762" y="312"/>
                    </a:cubicBezTo>
                    <a:cubicBezTo>
                      <a:pt x="761" y="313"/>
                      <a:pt x="761" y="313"/>
                      <a:pt x="761" y="315"/>
                    </a:cubicBezTo>
                    <a:cubicBezTo>
                      <a:pt x="750" y="314"/>
                      <a:pt x="751" y="321"/>
                      <a:pt x="742" y="317"/>
                    </a:cubicBezTo>
                    <a:cubicBezTo>
                      <a:pt x="745" y="320"/>
                      <a:pt x="747" y="321"/>
                      <a:pt x="738" y="321"/>
                    </a:cubicBezTo>
                    <a:cubicBezTo>
                      <a:pt x="734" y="324"/>
                      <a:pt x="733" y="334"/>
                      <a:pt x="738" y="336"/>
                    </a:cubicBezTo>
                    <a:cubicBezTo>
                      <a:pt x="738" y="340"/>
                      <a:pt x="733" y="338"/>
                      <a:pt x="735" y="343"/>
                    </a:cubicBezTo>
                    <a:cubicBezTo>
                      <a:pt x="733" y="344"/>
                      <a:pt x="731" y="343"/>
                      <a:pt x="729" y="343"/>
                    </a:cubicBezTo>
                    <a:cubicBezTo>
                      <a:pt x="727" y="344"/>
                      <a:pt x="727" y="346"/>
                      <a:pt x="725" y="347"/>
                    </a:cubicBezTo>
                    <a:cubicBezTo>
                      <a:pt x="722" y="349"/>
                      <a:pt x="717" y="348"/>
                      <a:pt x="714" y="351"/>
                    </a:cubicBezTo>
                    <a:cubicBezTo>
                      <a:pt x="713" y="352"/>
                      <a:pt x="711" y="353"/>
                      <a:pt x="710" y="355"/>
                    </a:cubicBezTo>
                    <a:cubicBezTo>
                      <a:pt x="708" y="357"/>
                      <a:pt x="708" y="361"/>
                      <a:pt x="705" y="364"/>
                    </a:cubicBezTo>
                    <a:cubicBezTo>
                      <a:pt x="703" y="366"/>
                      <a:pt x="699" y="366"/>
                      <a:pt x="701" y="373"/>
                    </a:cubicBezTo>
                    <a:cubicBezTo>
                      <a:pt x="697" y="373"/>
                      <a:pt x="697" y="368"/>
                      <a:pt x="694" y="368"/>
                    </a:cubicBezTo>
                    <a:cubicBezTo>
                      <a:pt x="692" y="368"/>
                      <a:pt x="692" y="371"/>
                      <a:pt x="690" y="371"/>
                    </a:cubicBezTo>
                    <a:cubicBezTo>
                      <a:pt x="697" y="379"/>
                      <a:pt x="696" y="385"/>
                      <a:pt x="697" y="396"/>
                    </a:cubicBezTo>
                    <a:cubicBezTo>
                      <a:pt x="693" y="394"/>
                      <a:pt x="695" y="398"/>
                      <a:pt x="694" y="399"/>
                    </a:cubicBezTo>
                    <a:cubicBezTo>
                      <a:pt x="693" y="400"/>
                      <a:pt x="690" y="399"/>
                      <a:pt x="690" y="399"/>
                    </a:cubicBezTo>
                    <a:cubicBezTo>
                      <a:pt x="688" y="401"/>
                      <a:pt x="688" y="402"/>
                      <a:pt x="686" y="403"/>
                    </a:cubicBezTo>
                    <a:cubicBezTo>
                      <a:pt x="684" y="405"/>
                      <a:pt x="682" y="408"/>
                      <a:pt x="680" y="409"/>
                    </a:cubicBezTo>
                    <a:cubicBezTo>
                      <a:pt x="678" y="410"/>
                      <a:pt x="675" y="408"/>
                      <a:pt x="673" y="411"/>
                    </a:cubicBezTo>
                    <a:cubicBezTo>
                      <a:pt x="669" y="412"/>
                      <a:pt x="667" y="416"/>
                      <a:pt x="666" y="420"/>
                    </a:cubicBezTo>
                    <a:cubicBezTo>
                      <a:pt x="661" y="420"/>
                      <a:pt x="662" y="426"/>
                      <a:pt x="656" y="425"/>
                    </a:cubicBezTo>
                    <a:cubicBezTo>
                      <a:pt x="658" y="432"/>
                      <a:pt x="652" y="446"/>
                      <a:pt x="660" y="446"/>
                    </a:cubicBezTo>
                    <a:cubicBezTo>
                      <a:pt x="656" y="453"/>
                      <a:pt x="663" y="453"/>
                      <a:pt x="662" y="463"/>
                    </a:cubicBezTo>
                    <a:cubicBezTo>
                      <a:pt x="662" y="465"/>
                      <a:pt x="664" y="464"/>
                      <a:pt x="666" y="465"/>
                    </a:cubicBezTo>
                    <a:cubicBezTo>
                      <a:pt x="663" y="470"/>
                      <a:pt x="666" y="470"/>
                      <a:pt x="666" y="478"/>
                    </a:cubicBezTo>
                    <a:cubicBezTo>
                      <a:pt x="662" y="478"/>
                      <a:pt x="659" y="479"/>
                      <a:pt x="658" y="481"/>
                    </a:cubicBezTo>
                    <a:cubicBezTo>
                      <a:pt x="655" y="481"/>
                      <a:pt x="657" y="478"/>
                      <a:pt x="656" y="476"/>
                    </a:cubicBezTo>
                    <a:cubicBezTo>
                      <a:pt x="655" y="474"/>
                      <a:pt x="652" y="475"/>
                      <a:pt x="651" y="474"/>
                    </a:cubicBezTo>
                    <a:cubicBezTo>
                      <a:pt x="650" y="473"/>
                      <a:pt x="651" y="469"/>
                      <a:pt x="647" y="470"/>
                    </a:cubicBezTo>
                    <a:cubicBezTo>
                      <a:pt x="648" y="466"/>
                      <a:pt x="650" y="462"/>
                      <a:pt x="643" y="461"/>
                    </a:cubicBezTo>
                    <a:cubicBezTo>
                      <a:pt x="646" y="452"/>
                      <a:pt x="642" y="453"/>
                      <a:pt x="641" y="444"/>
                    </a:cubicBezTo>
                    <a:cubicBezTo>
                      <a:pt x="640" y="444"/>
                      <a:pt x="639" y="446"/>
                      <a:pt x="638" y="446"/>
                    </a:cubicBezTo>
                    <a:cubicBezTo>
                      <a:pt x="638" y="445"/>
                      <a:pt x="638" y="443"/>
                      <a:pt x="638" y="442"/>
                    </a:cubicBezTo>
                    <a:cubicBezTo>
                      <a:pt x="635" y="443"/>
                      <a:pt x="625" y="445"/>
                      <a:pt x="623" y="442"/>
                    </a:cubicBezTo>
                    <a:cubicBezTo>
                      <a:pt x="621" y="441"/>
                      <a:pt x="621" y="439"/>
                      <a:pt x="619" y="439"/>
                    </a:cubicBezTo>
                    <a:cubicBezTo>
                      <a:pt x="618" y="438"/>
                      <a:pt x="615" y="441"/>
                      <a:pt x="612" y="440"/>
                    </a:cubicBezTo>
                    <a:cubicBezTo>
                      <a:pt x="612" y="440"/>
                      <a:pt x="619" y="434"/>
                      <a:pt x="612" y="437"/>
                    </a:cubicBezTo>
                    <a:cubicBezTo>
                      <a:pt x="611" y="437"/>
                      <a:pt x="612" y="438"/>
                      <a:pt x="610" y="439"/>
                    </a:cubicBezTo>
                    <a:cubicBezTo>
                      <a:pt x="605" y="439"/>
                      <a:pt x="597" y="439"/>
                      <a:pt x="593" y="437"/>
                    </a:cubicBezTo>
                    <a:cubicBezTo>
                      <a:pt x="589" y="436"/>
                      <a:pt x="592" y="443"/>
                      <a:pt x="591" y="446"/>
                    </a:cubicBezTo>
                    <a:cubicBezTo>
                      <a:pt x="581" y="444"/>
                      <a:pt x="569" y="444"/>
                      <a:pt x="557" y="442"/>
                    </a:cubicBezTo>
                    <a:cubicBezTo>
                      <a:pt x="556" y="443"/>
                      <a:pt x="556" y="444"/>
                      <a:pt x="554" y="444"/>
                    </a:cubicBezTo>
                    <a:cubicBezTo>
                      <a:pt x="552" y="445"/>
                      <a:pt x="552" y="448"/>
                      <a:pt x="550" y="448"/>
                    </a:cubicBezTo>
                    <a:cubicBezTo>
                      <a:pt x="548" y="448"/>
                      <a:pt x="549" y="450"/>
                      <a:pt x="548" y="452"/>
                    </a:cubicBezTo>
                    <a:cubicBezTo>
                      <a:pt x="546" y="452"/>
                      <a:pt x="543" y="451"/>
                      <a:pt x="541" y="452"/>
                    </a:cubicBezTo>
                    <a:cubicBezTo>
                      <a:pt x="539" y="452"/>
                      <a:pt x="539" y="456"/>
                      <a:pt x="535" y="455"/>
                    </a:cubicBezTo>
                    <a:cubicBezTo>
                      <a:pt x="536" y="459"/>
                      <a:pt x="533" y="468"/>
                      <a:pt x="537" y="468"/>
                    </a:cubicBezTo>
                    <a:cubicBezTo>
                      <a:pt x="535" y="471"/>
                      <a:pt x="534" y="474"/>
                      <a:pt x="531" y="476"/>
                    </a:cubicBezTo>
                    <a:cubicBezTo>
                      <a:pt x="532" y="481"/>
                      <a:pt x="531" y="486"/>
                      <a:pt x="531" y="491"/>
                    </a:cubicBezTo>
                    <a:cubicBezTo>
                      <a:pt x="532" y="493"/>
                      <a:pt x="533" y="494"/>
                      <a:pt x="533" y="496"/>
                    </a:cubicBezTo>
                    <a:cubicBezTo>
                      <a:pt x="533" y="501"/>
                      <a:pt x="535" y="506"/>
                      <a:pt x="531" y="509"/>
                    </a:cubicBezTo>
                    <a:cubicBezTo>
                      <a:pt x="531" y="512"/>
                      <a:pt x="536" y="510"/>
                      <a:pt x="537" y="511"/>
                    </a:cubicBezTo>
                    <a:cubicBezTo>
                      <a:pt x="537" y="512"/>
                      <a:pt x="535" y="514"/>
                      <a:pt x="535" y="515"/>
                    </a:cubicBezTo>
                    <a:cubicBezTo>
                      <a:pt x="535" y="514"/>
                      <a:pt x="537" y="517"/>
                      <a:pt x="537" y="517"/>
                    </a:cubicBezTo>
                    <a:cubicBezTo>
                      <a:pt x="538" y="519"/>
                      <a:pt x="540" y="517"/>
                      <a:pt x="541" y="519"/>
                    </a:cubicBezTo>
                    <a:cubicBezTo>
                      <a:pt x="541" y="519"/>
                      <a:pt x="540" y="522"/>
                      <a:pt x="541" y="522"/>
                    </a:cubicBezTo>
                    <a:cubicBezTo>
                      <a:pt x="541" y="523"/>
                      <a:pt x="542" y="522"/>
                      <a:pt x="543" y="522"/>
                    </a:cubicBezTo>
                    <a:cubicBezTo>
                      <a:pt x="543" y="523"/>
                      <a:pt x="542" y="526"/>
                      <a:pt x="543" y="526"/>
                    </a:cubicBezTo>
                    <a:cubicBezTo>
                      <a:pt x="544" y="527"/>
                      <a:pt x="548" y="530"/>
                      <a:pt x="548" y="534"/>
                    </a:cubicBezTo>
                    <a:cubicBezTo>
                      <a:pt x="563" y="535"/>
                      <a:pt x="571" y="531"/>
                      <a:pt x="578" y="534"/>
                    </a:cubicBezTo>
                    <a:cubicBezTo>
                      <a:pt x="580" y="533"/>
                      <a:pt x="580" y="531"/>
                      <a:pt x="582" y="530"/>
                    </a:cubicBezTo>
                    <a:cubicBezTo>
                      <a:pt x="583" y="528"/>
                      <a:pt x="586" y="525"/>
                      <a:pt x="587" y="521"/>
                    </a:cubicBezTo>
                    <a:cubicBezTo>
                      <a:pt x="588" y="519"/>
                      <a:pt x="590" y="517"/>
                      <a:pt x="587" y="517"/>
                    </a:cubicBezTo>
                    <a:cubicBezTo>
                      <a:pt x="592" y="511"/>
                      <a:pt x="605" y="507"/>
                      <a:pt x="615" y="511"/>
                    </a:cubicBezTo>
                    <a:cubicBezTo>
                      <a:pt x="611" y="516"/>
                      <a:pt x="610" y="523"/>
                      <a:pt x="606" y="528"/>
                    </a:cubicBezTo>
                    <a:cubicBezTo>
                      <a:pt x="604" y="533"/>
                      <a:pt x="609" y="533"/>
                      <a:pt x="608" y="537"/>
                    </a:cubicBezTo>
                    <a:cubicBezTo>
                      <a:pt x="604" y="538"/>
                      <a:pt x="602" y="542"/>
                      <a:pt x="600" y="547"/>
                    </a:cubicBezTo>
                    <a:cubicBezTo>
                      <a:pt x="600" y="548"/>
                      <a:pt x="600" y="549"/>
                      <a:pt x="598" y="548"/>
                    </a:cubicBezTo>
                    <a:cubicBezTo>
                      <a:pt x="598" y="553"/>
                      <a:pt x="607" y="547"/>
                      <a:pt x="604" y="554"/>
                    </a:cubicBezTo>
                    <a:cubicBezTo>
                      <a:pt x="608" y="554"/>
                      <a:pt x="610" y="551"/>
                      <a:pt x="615" y="552"/>
                    </a:cubicBezTo>
                    <a:cubicBezTo>
                      <a:pt x="614" y="556"/>
                      <a:pt x="619" y="555"/>
                      <a:pt x="619" y="558"/>
                    </a:cubicBezTo>
                    <a:cubicBezTo>
                      <a:pt x="629" y="554"/>
                      <a:pt x="630" y="561"/>
                      <a:pt x="641" y="560"/>
                    </a:cubicBezTo>
                    <a:cubicBezTo>
                      <a:pt x="637" y="564"/>
                      <a:pt x="644" y="570"/>
                      <a:pt x="638" y="573"/>
                    </a:cubicBezTo>
                    <a:cubicBezTo>
                      <a:pt x="641" y="577"/>
                      <a:pt x="639" y="588"/>
                      <a:pt x="638" y="593"/>
                    </a:cubicBezTo>
                    <a:cubicBezTo>
                      <a:pt x="638" y="596"/>
                      <a:pt x="641" y="597"/>
                      <a:pt x="645" y="597"/>
                    </a:cubicBezTo>
                    <a:cubicBezTo>
                      <a:pt x="644" y="601"/>
                      <a:pt x="649" y="600"/>
                      <a:pt x="649" y="603"/>
                    </a:cubicBezTo>
                    <a:cubicBezTo>
                      <a:pt x="649" y="605"/>
                      <a:pt x="655" y="603"/>
                      <a:pt x="654" y="606"/>
                    </a:cubicBezTo>
                    <a:cubicBezTo>
                      <a:pt x="661" y="601"/>
                      <a:pt x="672" y="607"/>
                      <a:pt x="677" y="604"/>
                    </a:cubicBezTo>
                    <a:cubicBezTo>
                      <a:pt x="677" y="606"/>
                      <a:pt x="677" y="607"/>
                      <a:pt x="677" y="608"/>
                    </a:cubicBezTo>
                    <a:cubicBezTo>
                      <a:pt x="680" y="608"/>
                      <a:pt x="686" y="604"/>
                      <a:pt x="686" y="610"/>
                    </a:cubicBezTo>
                    <a:cubicBezTo>
                      <a:pt x="688" y="609"/>
                      <a:pt x="689" y="608"/>
                      <a:pt x="692" y="608"/>
                    </a:cubicBezTo>
                    <a:cubicBezTo>
                      <a:pt x="693" y="607"/>
                      <a:pt x="694" y="606"/>
                      <a:pt x="695" y="604"/>
                    </a:cubicBezTo>
                    <a:cubicBezTo>
                      <a:pt x="696" y="603"/>
                      <a:pt x="697" y="605"/>
                      <a:pt x="697" y="603"/>
                    </a:cubicBezTo>
                    <a:cubicBezTo>
                      <a:pt x="697" y="600"/>
                      <a:pt x="700" y="604"/>
                      <a:pt x="701" y="601"/>
                    </a:cubicBezTo>
                    <a:cubicBezTo>
                      <a:pt x="701" y="600"/>
                      <a:pt x="701" y="597"/>
                      <a:pt x="701" y="597"/>
                    </a:cubicBezTo>
                    <a:cubicBezTo>
                      <a:pt x="702" y="596"/>
                      <a:pt x="703" y="599"/>
                      <a:pt x="703" y="599"/>
                    </a:cubicBezTo>
                    <a:cubicBezTo>
                      <a:pt x="704" y="598"/>
                      <a:pt x="705" y="596"/>
                      <a:pt x="707" y="595"/>
                    </a:cubicBezTo>
                    <a:cubicBezTo>
                      <a:pt x="708" y="594"/>
                      <a:pt x="711" y="592"/>
                      <a:pt x="714" y="589"/>
                    </a:cubicBezTo>
                    <a:cubicBezTo>
                      <a:pt x="715" y="589"/>
                      <a:pt x="716" y="588"/>
                      <a:pt x="716" y="586"/>
                    </a:cubicBezTo>
                    <a:cubicBezTo>
                      <a:pt x="718" y="588"/>
                      <a:pt x="737" y="589"/>
                      <a:pt x="727" y="591"/>
                    </a:cubicBezTo>
                    <a:cubicBezTo>
                      <a:pt x="728" y="594"/>
                      <a:pt x="732" y="593"/>
                      <a:pt x="735" y="593"/>
                    </a:cubicBezTo>
                    <a:cubicBezTo>
                      <a:pt x="736" y="593"/>
                      <a:pt x="736" y="591"/>
                      <a:pt x="736" y="589"/>
                    </a:cubicBezTo>
                    <a:cubicBezTo>
                      <a:pt x="741" y="589"/>
                      <a:pt x="746" y="589"/>
                      <a:pt x="751" y="589"/>
                    </a:cubicBezTo>
                    <a:cubicBezTo>
                      <a:pt x="749" y="595"/>
                      <a:pt x="759" y="593"/>
                      <a:pt x="764" y="595"/>
                    </a:cubicBezTo>
                    <a:cubicBezTo>
                      <a:pt x="765" y="595"/>
                      <a:pt x="764" y="597"/>
                      <a:pt x="766" y="597"/>
                    </a:cubicBezTo>
                    <a:cubicBezTo>
                      <a:pt x="768" y="597"/>
                      <a:pt x="768" y="599"/>
                      <a:pt x="770" y="599"/>
                    </a:cubicBezTo>
                    <a:cubicBezTo>
                      <a:pt x="774" y="599"/>
                      <a:pt x="775" y="597"/>
                      <a:pt x="777" y="597"/>
                    </a:cubicBezTo>
                    <a:cubicBezTo>
                      <a:pt x="787" y="596"/>
                      <a:pt x="796" y="598"/>
                      <a:pt x="805" y="599"/>
                    </a:cubicBezTo>
                    <a:cubicBezTo>
                      <a:pt x="805" y="602"/>
                      <a:pt x="807" y="606"/>
                      <a:pt x="807" y="603"/>
                    </a:cubicBezTo>
                    <a:cubicBezTo>
                      <a:pt x="809" y="603"/>
                      <a:pt x="808" y="604"/>
                      <a:pt x="807" y="604"/>
                    </a:cubicBezTo>
                    <a:cubicBezTo>
                      <a:pt x="807" y="609"/>
                      <a:pt x="812" y="605"/>
                      <a:pt x="815" y="608"/>
                    </a:cubicBezTo>
                    <a:cubicBezTo>
                      <a:pt x="815" y="609"/>
                      <a:pt x="814" y="612"/>
                      <a:pt x="815" y="612"/>
                    </a:cubicBezTo>
                    <a:cubicBezTo>
                      <a:pt x="817" y="613"/>
                      <a:pt x="820" y="611"/>
                      <a:pt x="822" y="612"/>
                    </a:cubicBezTo>
                    <a:cubicBezTo>
                      <a:pt x="821" y="616"/>
                      <a:pt x="823" y="617"/>
                      <a:pt x="826" y="619"/>
                    </a:cubicBezTo>
                    <a:cubicBezTo>
                      <a:pt x="829" y="622"/>
                      <a:pt x="832" y="624"/>
                      <a:pt x="833" y="629"/>
                    </a:cubicBezTo>
                    <a:cubicBezTo>
                      <a:pt x="845" y="628"/>
                      <a:pt x="850" y="634"/>
                      <a:pt x="859" y="630"/>
                    </a:cubicBezTo>
                    <a:cubicBezTo>
                      <a:pt x="857" y="638"/>
                      <a:pt x="870" y="630"/>
                      <a:pt x="867" y="638"/>
                    </a:cubicBezTo>
                    <a:cubicBezTo>
                      <a:pt x="873" y="635"/>
                      <a:pt x="873" y="643"/>
                      <a:pt x="878" y="644"/>
                    </a:cubicBezTo>
                    <a:cubicBezTo>
                      <a:pt x="880" y="644"/>
                      <a:pt x="880" y="649"/>
                      <a:pt x="884" y="647"/>
                    </a:cubicBezTo>
                    <a:cubicBezTo>
                      <a:pt x="878" y="652"/>
                      <a:pt x="886" y="651"/>
                      <a:pt x="885" y="657"/>
                    </a:cubicBezTo>
                    <a:cubicBezTo>
                      <a:pt x="885" y="660"/>
                      <a:pt x="889" y="659"/>
                      <a:pt x="891" y="660"/>
                    </a:cubicBezTo>
                    <a:cubicBezTo>
                      <a:pt x="892" y="661"/>
                      <a:pt x="891" y="666"/>
                      <a:pt x="895" y="664"/>
                    </a:cubicBezTo>
                    <a:cubicBezTo>
                      <a:pt x="888" y="671"/>
                      <a:pt x="904" y="673"/>
                      <a:pt x="899" y="679"/>
                    </a:cubicBezTo>
                    <a:cubicBezTo>
                      <a:pt x="902" y="678"/>
                      <a:pt x="904" y="679"/>
                      <a:pt x="904" y="683"/>
                    </a:cubicBezTo>
                    <a:cubicBezTo>
                      <a:pt x="914" y="681"/>
                      <a:pt x="926" y="684"/>
                      <a:pt x="930" y="692"/>
                    </a:cubicBezTo>
                    <a:cubicBezTo>
                      <a:pt x="939" y="692"/>
                      <a:pt x="944" y="695"/>
                      <a:pt x="954" y="694"/>
                    </a:cubicBezTo>
                    <a:cubicBezTo>
                      <a:pt x="955" y="695"/>
                      <a:pt x="951" y="696"/>
                      <a:pt x="951" y="696"/>
                    </a:cubicBezTo>
                    <a:cubicBezTo>
                      <a:pt x="953" y="699"/>
                      <a:pt x="965" y="697"/>
                      <a:pt x="971" y="698"/>
                    </a:cubicBezTo>
                    <a:cubicBezTo>
                      <a:pt x="971" y="699"/>
                      <a:pt x="974" y="699"/>
                      <a:pt x="975" y="699"/>
                    </a:cubicBezTo>
                    <a:cubicBezTo>
                      <a:pt x="975" y="703"/>
                      <a:pt x="979" y="702"/>
                      <a:pt x="981" y="703"/>
                    </a:cubicBezTo>
                    <a:cubicBezTo>
                      <a:pt x="981" y="704"/>
                      <a:pt x="980" y="706"/>
                      <a:pt x="981" y="707"/>
                    </a:cubicBezTo>
                    <a:cubicBezTo>
                      <a:pt x="981" y="708"/>
                      <a:pt x="984" y="706"/>
                      <a:pt x="984" y="707"/>
                    </a:cubicBezTo>
                    <a:cubicBezTo>
                      <a:pt x="986" y="708"/>
                      <a:pt x="984" y="712"/>
                      <a:pt x="988" y="711"/>
                    </a:cubicBezTo>
                    <a:cubicBezTo>
                      <a:pt x="988" y="730"/>
                      <a:pt x="988" y="749"/>
                      <a:pt x="988" y="768"/>
                    </a:cubicBezTo>
                    <a:cubicBezTo>
                      <a:pt x="980" y="766"/>
                      <a:pt x="988" y="779"/>
                      <a:pt x="981" y="776"/>
                    </a:cubicBezTo>
                    <a:cubicBezTo>
                      <a:pt x="980" y="782"/>
                      <a:pt x="979" y="788"/>
                      <a:pt x="979" y="795"/>
                    </a:cubicBezTo>
                    <a:cubicBezTo>
                      <a:pt x="979" y="798"/>
                      <a:pt x="982" y="805"/>
                      <a:pt x="981" y="813"/>
                    </a:cubicBezTo>
                    <a:cubicBezTo>
                      <a:pt x="981" y="813"/>
                      <a:pt x="979" y="814"/>
                      <a:pt x="979" y="815"/>
                    </a:cubicBezTo>
                    <a:cubicBezTo>
                      <a:pt x="978" y="816"/>
                      <a:pt x="979" y="818"/>
                      <a:pt x="979" y="819"/>
                    </a:cubicBezTo>
                    <a:cubicBezTo>
                      <a:pt x="978" y="820"/>
                      <a:pt x="973" y="821"/>
                      <a:pt x="975" y="828"/>
                    </a:cubicBezTo>
                    <a:cubicBezTo>
                      <a:pt x="971" y="829"/>
                      <a:pt x="969" y="832"/>
                      <a:pt x="966" y="834"/>
                    </a:cubicBezTo>
                    <a:cubicBezTo>
                      <a:pt x="965" y="835"/>
                      <a:pt x="967" y="838"/>
                      <a:pt x="966" y="839"/>
                    </a:cubicBezTo>
                    <a:cubicBezTo>
                      <a:pt x="965" y="840"/>
                      <a:pt x="962" y="839"/>
                      <a:pt x="962" y="839"/>
                    </a:cubicBezTo>
                    <a:cubicBezTo>
                      <a:pt x="961" y="840"/>
                      <a:pt x="963" y="843"/>
                      <a:pt x="962" y="843"/>
                    </a:cubicBezTo>
                    <a:cubicBezTo>
                      <a:pt x="960" y="844"/>
                      <a:pt x="955" y="843"/>
                      <a:pt x="954" y="847"/>
                    </a:cubicBezTo>
                    <a:cubicBezTo>
                      <a:pt x="954" y="849"/>
                      <a:pt x="951" y="848"/>
                      <a:pt x="947" y="850"/>
                    </a:cubicBezTo>
                    <a:cubicBezTo>
                      <a:pt x="946" y="851"/>
                      <a:pt x="944" y="854"/>
                      <a:pt x="943" y="854"/>
                    </a:cubicBezTo>
                    <a:cubicBezTo>
                      <a:pt x="942" y="854"/>
                      <a:pt x="941" y="852"/>
                      <a:pt x="940" y="852"/>
                    </a:cubicBezTo>
                    <a:cubicBezTo>
                      <a:pt x="940" y="852"/>
                      <a:pt x="939" y="854"/>
                      <a:pt x="938" y="854"/>
                    </a:cubicBezTo>
                    <a:cubicBezTo>
                      <a:pt x="935" y="854"/>
                      <a:pt x="934" y="855"/>
                      <a:pt x="934" y="858"/>
                    </a:cubicBezTo>
                    <a:cubicBezTo>
                      <a:pt x="927" y="855"/>
                      <a:pt x="923" y="863"/>
                      <a:pt x="919" y="865"/>
                    </a:cubicBezTo>
                    <a:cubicBezTo>
                      <a:pt x="918" y="866"/>
                      <a:pt x="916" y="865"/>
                      <a:pt x="915" y="865"/>
                    </a:cubicBezTo>
                    <a:cubicBezTo>
                      <a:pt x="914" y="866"/>
                      <a:pt x="912" y="868"/>
                      <a:pt x="912" y="869"/>
                    </a:cubicBezTo>
                    <a:cubicBezTo>
                      <a:pt x="911" y="870"/>
                      <a:pt x="908" y="872"/>
                      <a:pt x="908" y="873"/>
                    </a:cubicBezTo>
                    <a:cubicBezTo>
                      <a:pt x="907" y="874"/>
                      <a:pt x="911" y="878"/>
                      <a:pt x="906" y="877"/>
                    </a:cubicBezTo>
                    <a:cubicBezTo>
                      <a:pt x="907" y="885"/>
                      <a:pt x="903" y="889"/>
                      <a:pt x="904" y="897"/>
                    </a:cubicBezTo>
                    <a:cubicBezTo>
                      <a:pt x="899" y="895"/>
                      <a:pt x="902" y="901"/>
                      <a:pt x="900" y="903"/>
                    </a:cubicBezTo>
                    <a:cubicBezTo>
                      <a:pt x="900" y="903"/>
                      <a:pt x="897" y="902"/>
                      <a:pt x="897" y="903"/>
                    </a:cubicBezTo>
                    <a:cubicBezTo>
                      <a:pt x="896" y="904"/>
                      <a:pt x="900" y="906"/>
                      <a:pt x="897" y="906"/>
                    </a:cubicBezTo>
                    <a:cubicBezTo>
                      <a:pt x="894" y="906"/>
                      <a:pt x="894" y="914"/>
                      <a:pt x="889" y="914"/>
                    </a:cubicBezTo>
                    <a:cubicBezTo>
                      <a:pt x="889" y="914"/>
                      <a:pt x="886" y="917"/>
                      <a:pt x="885" y="918"/>
                    </a:cubicBezTo>
                    <a:cubicBezTo>
                      <a:pt x="883" y="920"/>
                      <a:pt x="881" y="926"/>
                      <a:pt x="876" y="929"/>
                    </a:cubicBezTo>
                    <a:cubicBezTo>
                      <a:pt x="876" y="931"/>
                      <a:pt x="876" y="934"/>
                      <a:pt x="876" y="936"/>
                    </a:cubicBezTo>
                    <a:cubicBezTo>
                      <a:pt x="873" y="938"/>
                      <a:pt x="870" y="939"/>
                      <a:pt x="871" y="944"/>
                    </a:cubicBezTo>
                    <a:cubicBezTo>
                      <a:pt x="867" y="944"/>
                      <a:pt x="864" y="944"/>
                      <a:pt x="861" y="944"/>
                    </a:cubicBezTo>
                    <a:cubicBezTo>
                      <a:pt x="861" y="945"/>
                      <a:pt x="864" y="945"/>
                      <a:pt x="865" y="946"/>
                    </a:cubicBezTo>
                    <a:cubicBezTo>
                      <a:pt x="865" y="948"/>
                      <a:pt x="862" y="947"/>
                      <a:pt x="859" y="947"/>
                    </a:cubicBezTo>
                    <a:cubicBezTo>
                      <a:pt x="857" y="949"/>
                      <a:pt x="856" y="951"/>
                      <a:pt x="856" y="955"/>
                    </a:cubicBezTo>
                    <a:cubicBezTo>
                      <a:pt x="853" y="953"/>
                      <a:pt x="852" y="953"/>
                      <a:pt x="852" y="957"/>
                    </a:cubicBezTo>
                    <a:cubicBezTo>
                      <a:pt x="850" y="957"/>
                      <a:pt x="851" y="954"/>
                      <a:pt x="850" y="953"/>
                    </a:cubicBezTo>
                    <a:cubicBezTo>
                      <a:pt x="847" y="953"/>
                      <a:pt x="845" y="953"/>
                      <a:pt x="845" y="951"/>
                    </a:cubicBezTo>
                    <a:cubicBezTo>
                      <a:pt x="843" y="952"/>
                      <a:pt x="843" y="955"/>
                      <a:pt x="839" y="955"/>
                    </a:cubicBezTo>
                    <a:cubicBezTo>
                      <a:pt x="838" y="959"/>
                      <a:pt x="842" y="960"/>
                      <a:pt x="843" y="964"/>
                    </a:cubicBezTo>
                    <a:cubicBezTo>
                      <a:pt x="843" y="969"/>
                      <a:pt x="836" y="972"/>
                      <a:pt x="841" y="975"/>
                    </a:cubicBezTo>
                    <a:cubicBezTo>
                      <a:pt x="840" y="980"/>
                      <a:pt x="831" y="975"/>
                      <a:pt x="830" y="979"/>
                    </a:cubicBezTo>
                    <a:cubicBezTo>
                      <a:pt x="827" y="979"/>
                      <a:pt x="829" y="982"/>
                      <a:pt x="828" y="983"/>
                    </a:cubicBezTo>
                    <a:cubicBezTo>
                      <a:pt x="826" y="984"/>
                      <a:pt x="819" y="983"/>
                      <a:pt x="820" y="988"/>
                    </a:cubicBezTo>
                    <a:cubicBezTo>
                      <a:pt x="816" y="985"/>
                      <a:pt x="803" y="985"/>
                      <a:pt x="802" y="990"/>
                    </a:cubicBezTo>
                    <a:cubicBezTo>
                      <a:pt x="802" y="992"/>
                      <a:pt x="804" y="991"/>
                      <a:pt x="804" y="990"/>
                    </a:cubicBezTo>
                    <a:cubicBezTo>
                      <a:pt x="808" y="990"/>
                      <a:pt x="803" y="995"/>
                      <a:pt x="800" y="994"/>
                    </a:cubicBezTo>
                    <a:cubicBezTo>
                      <a:pt x="801" y="998"/>
                      <a:pt x="794" y="1004"/>
                      <a:pt x="798" y="1005"/>
                    </a:cubicBezTo>
                    <a:cubicBezTo>
                      <a:pt x="798" y="1006"/>
                      <a:pt x="795" y="1007"/>
                      <a:pt x="794" y="1007"/>
                    </a:cubicBezTo>
                    <a:cubicBezTo>
                      <a:pt x="794" y="1007"/>
                      <a:pt x="792" y="1005"/>
                      <a:pt x="792" y="1005"/>
                    </a:cubicBezTo>
                    <a:cubicBezTo>
                      <a:pt x="791" y="1005"/>
                      <a:pt x="786" y="1010"/>
                      <a:pt x="787" y="1003"/>
                    </a:cubicBezTo>
                    <a:cubicBezTo>
                      <a:pt x="785" y="1004"/>
                      <a:pt x="784" y="1008"/>
                      <a:pt x="783" y="1005"/>
                    </a:cubicBezTo>
                    <a:cubicBezTo>
                      <a:pt x="780" y="1006"/>
                      <a:pt x="784" y="1016"/>
                      <a:pt x="785" y="1020"/>
                    </a:cubicBezTo>
                    <a:cubicBezTo>
                      <a:pt x="786" y="1025"/>
                      <a:pt x="782" y="1023"/>
                      <a:pt x="781" y="1028"/>
                    </a:cubicBezTo>
                    <a:cubicBezTo>
                      <a:pt x="781" y="1030"/>
                      <a:pt x="781" y="1034"/>
                      <a:pt x="776" y="1033"/>
                    </a:cubicBezTo>
                    <a:cubicBezTo>
                      <a:pt x="775" y="1035"/>
                      <a:pt x="779" y="1036"/>
                      <a:pt x="779" y="1037"/>
                    </a:cubicBezTo>
                    <a:cubicBezTo>
                      <a:pt x="780" y="1040"/>
                      <a:pt x="776" y="1036"/>
                      <a:pt x="776" y="1037"/>
                    </a:cubicBezTo>
                    <a:cubicBezTo>
                      <a:pt x="774" y="1038"/>
                      <a:pt x="774" y="1043"/>
                      <a:pt x="776" y="1042"/>
                    </a:cubicBezTo>
                    <a:cubicBezTo>
                      <a:pt x="775" y="1045"/>
                      <a:pt x="774" y="1043"/>
                      <a:pt x="772" y="1042"/>
                    </a:cubicBezTo>
                    <a:cubicBezTo>
                      <a:pt x="772" y="1042"/>
                      <a:pt x="771" y="1045"/>
                      <a:pt x="770" y="1044"/>
                    </a:cubicBezTo>
                    <a:cubicBezTo>
                      <a:pt x="767" y="1040"/>
                      <a:pt x="771" y="1045"/>
                      <a:pt x="768" y="1048"/>
                    </a:cubicBezTo>
                    <a:cubicBezTo>
                      <a:pt x="765" y="1051"/>
                      <a:pt x="764" y="1047"/>
                      <a:pt x="761" y="1050"/>
                    </a:cubicBezTo>
                    <a:cubicBezTo>
                      <a:pt x="758" y="1055"/>
                      <a:pt x="769" y="1054"/>
                      <a:pt x="762" y="1057"/>
                    </a:cubicBezTo>
                    <a:cubicBezTo>
                      <a:pt x="763" y="1059"/>
                      <a:pt x="766" y="1059"/>
                      <a:pt x="768" y="1059"/>
                    </a:cubicBezTo>
                    <a:cubicBezTo>
                      <a:pt x="767" y="1063"/>
                      <a:pt x="768" y="1065"/>
                      <a:pt x="772" y="1065"/>
                    </a:cubicBezTo>
                    <a:cubicBezTo>
                      <a:pt x="775" y="1069"/>
                      <a:pt x="768" y="1071"/>
                      <a:pt x="768" y="1072"/>
                    </a:cubicBezTo>
                    <a:cubicBezTo>
                      <a:pt x="768" y="1073"/>
                      <a:pt x="769" y="1075"/>
                      <a:pt x="770" y="1074"/>
                    </a:cubicBezTo>
                    <a:cubicBezTo>
                      <a:pt x="768" y="1077"/>
                      <a:pt x="769" y="1074"/>
                      <a:pt x="768" y="1074"/>
                    </a:cubicBezTo>
                    <a:cubicBezTo>
                      <a:pt x="765" y="1074"/>
                      <a:pt x="766" y="1078"/>
                      <a:pt x="761" y="1078"/>
                    </a:cubicBezTo>
                    <a:cubicBezTo>
                      <a:pt x="763" y="1081"/>
                      <a:pt x="762" y="1082"/>
                      <a:pt x="757" y="1082"/>
                    </a:cubicBezTo>
                    <a:cubicBezTo>
                      <a:pt x="758" y="1087"/>
                      <a:pt x="754" y="1086"/>
                      <a:pt x="755" y="1091"/>
                    </a:cubicBezTo>
                    <a:cubicBezTo>
                      <a:pt x="748" y="1092"/>
                      <a:pt x="756" y="1099"/>
                      <a:pt x="749" y="1095"/>
                    </a:cubicBezTo>
                    <a:cubicBezTo>
                      <a:pt x="750" y="1099"/>
                      <a:pt x="748" y="1103"/>
                      <a:pt x="749" y="1108"/>
                    </a:cubicBezTo>
                    <a:cubicBezTo>
                      <a:pt x="750" y="1109"/>
                      <a:pt x="751" y="1110"/>
                      <a:pt x="751" y="1110"/>
                    </a:cubicBezTo>
                    <a:cubicBezTo>
                      <a:pt x="751" y="1112"/>
                      <a:pt x="748" y="1113"/>
                      <a:pt x="751" y="1117"/>
                    </a:cubicBezTo>
                    <a:cubicBezTo>
                      <a:pt x="754" y="1119"/>
                      <a:pt x="751" y="1121"/>
                      <a:pt x="753" y="1126"/>
                    </a:cubicBezTo>
                    <a:cubicBezTo>
                      <a:pt x="755" y="1130"/>
                      <a:pt x="759" y="1132"/>
                      <a:pt x="761" y="1136"/>
                    </a:cubicBezTo>
                    <a:cubicBezTo>
                      <a:pt x="765" y="1139"/>
                      <a:pt x="768" y="1133"/>
                      <a:pt x="772" y="1137"/>
                    </a:cubicBezTo>
                    <a:cubicBezTo>
                      <a:pt x="773" y="1144"/>
                      <a:pt x="766" y="1140"/>
                      <a:pt x="762" y="1141"/>
                    </a:cubicBezTo>
                    <a:cubicBezTo>
                      <a:pt x="755" y="1143"/>
                      <a:pt x="746" y="1146"/>
                      <a:pt x="740" y="1145"/>
                    </a:cubicBezTo>
                    <a:cubicBezTo>
                      <a:pt x="740" y="1145"/>
                      <a:pt x="740" y="1142"/>
                      <a:pt x="740" y="1141"/>
                    </a:cubicBezTo>
                    <a:cubicBezTo>
                      <a:pt x="732" y="1143"/>
                      <a:pt x="730" y="1138"/>
                      <a:pt x="723" y="1137"/>
                    </a:cubicBezTo>
                    <a:cubicBezTo>
                      <a:pt x="723" y="1136"/>
                      <a:pt x="723" y="1134"/>
                      <a:pt x="723" y="1132"/>
                    </a:cubicBezTo>
                    <a:cubicBezTo>
                      <a:pt x="722" y="1127"/>
                      <a:pt x="716" y="1131"/>
                      <a:pt x="716" y="1126"/>
                    </a:cubicBezTo>
                    <a:cubicBezTo>
                      <a:pt x="716" y="1125"/>
                      <a:pt x="714" y="1124"/>
                      <a:pt x="714" y="1123"/>
                    </a:cubicBezTo>
                    <a:cubicBezTo>
                      <a:pt x="714" y="1121"/>
                      <a:pt x="712" y="1121"/>
                      <a:pt x="712" y="1121"/>
                    </a:cubicBezTo>
                    <a:cubicBezTo>
                      <a:pt x="712" y="1119"/>
                      <a:pt x="716" y="1115"/>
                      <a:pt x="712" y="1115"/>
                    </a:cubicBezTo>
                    <a:cubicBezTo>
                      <a:pt x="709" y="1115"/>
                      <a:pt x="712" y="1113"/>
                      <a:pt x="712" y="1111"/>
                    </a:cubicBezTo>
                    <a:cubicBezTo>
                      <a:pt x="712" y="1109"/>
                      <a:pt x="709" y="1109"/>
                      <a:pt x="708" y="1108"/>
                    </a:cubicBezTo>
                    <a:cubicBezTo>
                      <a:pt x="708" y="1106"/>
                      <a:pt x="711" y="1106"/>
                      <a:pt x="710" y="1104"/>
                    </a:cubicBezTo>
                    <a:cubicBezTo>
                      <a:pt x="710" y="1104"/>
                      <a:pt x="709" y="1103"/>
                      <a:pt x="708" y="1102"/>
                    </a:cubicBezTo>
                    <a:cubicBezTo>
                      <a:pt x="708" y="1100"/>
                      <a:pt x="707" y="1097"/>
                      <a:pt x="705" y="1096"/>
                    </a:cubicBezTo>
                    <a:cubicBezTo>
                      <a:pt x="704" y="1094"/>
                      <a:pt x="707" y="1093"/>
                      <a:pt x="707" y="1091"/>
                    </a:cubicBezTo>
                    <a:cubicBezTo>
                      <a:pt x="706" y="1090"/>
                      <a:pt x="703" y="1088"/>
                      <a:pt x="703" y="1089"/>
                    </a:cubicBezTo>
                    <a:cubicBezTo>
                      <a:pt x="703" y="1088"/>
                      <a:pt x="710" y="1085"/>
                      <a:pt x="705" y="1083"/>
                    </a:cubicBezTo>
                    <a:cubicBezTo>
                      <a:pt x="705" y="1082"/>
                      <a:pt x="707" y="1082"/>
                      <a:pt x="708" y="1082"/>
                    </a:cubicBezTo>
                    <a:cubicBezTo>
                      <a:pt x="708" y="1077"/>
                      <a:pt x="708" y="1073"/>
                      <a:pt x="708" y="1068"/>
                    </a:cubicBezTo>
                    <a:cubicBezTo>
                      <a:pt x="707" y="1067"/>
                      <a:pt x="705" y="1066"/>
                      <a:pt x="703" y="1065"/>
                    </a:cubicBezTo>
                    <a:cubicBezTo>
                      <a:pt x="705" y="1059"/>
                      <a:pt x="709" y="1054"/>
                      <a:pt x="707" y="1048"/>
                    </a:cubicBezTo>
                    <a:cubicBezTo>
                      <a:pt x="712" y="1050"/>
                      <a:pt x="711" y="1045"/>
                      <a:pt x="716" y="1046"/>
                    </a:cubicBezTo>
                    <a:cubicBezTo>
                      <a:pt x="716" y="1041"/>
                      <a:pt x="716" y="1035"/>
                      <a:pt x="716" y="1029"/>
                    </a:cubicBezTo>
                    <a:cubicBezTo>
                      <a:pt x="725" y="1030"/>
                      <a:pt x="721" y="1017"/>
                      <a:pt x="725" y="1013"/>
                    </a:cubicBezTo>
                    <a:cubicBezTo>
                      <a:pt x="724" y="1014"/>
                      <a:pt x="722" y="1015"/>
                      <a:pt x="721" y="1013"/>
                    </a:cubicBezTo>
                    <a:cubicBezTo>
                      <a:pt x="718" y="1014"/>
                      <a:pt x="716" y="1018"/>
                      <a:pt x="716" y="1024"/>
                    </a:cubicBezTo>
                    <a:cubicBezTo>
                      <a:pt x="713" y="1022"/>
                      <a:pt x="710" y="1021"/>
                      <a:pt x="710" y="1016"/>
                    </a:cubicBezTo>
                    <a:cubicBezTo>
                      <a:pt x="707" y="1014"/>
                      <a:pt x="716" y="1010"/>
                      <a:pt x="714" y="1009"/>
                    </a:cubicBezTo>
                    <a:cubicBezTo>
                      <a:pt x="710" y="1006"/>
                      <a:pt x="715" y="1010"/>
                      <a:pt x="718" y="1007"/>
                    </a:cubicBezTo>
                    <a:cubicBezTo>
                      <a:pt x="719" y="997"/>
                      <a:pt x="715" y="989"/>
                      <a:pt x="716" y="981"/>
                    </a:cubicBezTo>
                    <a:cubicBezTo>
                      <a:pt x="716" y="981"/>
                      <a:pt x="719" y="981"/>
                      <a:pt x="720" y="981"/>
                    </a:cubicBezTo>
                    <a:cubicBezTo>
                      <a:pt x="718" y="972"/>
                      <a:pt x="720" y="971"/>
                      <a:pt x="720" y="960"/>
                    </a:cubicBezTo>
                    <a:cubicBezTo>
                      <a:pt x="724" y="955"/>
                      <a:pt x="730" y="949"/>
                      <a:pt x="727" y="942"/>
                    </a:cubicBezTo>
                    <a:cubicBezTo>
                      <a:pt x="734" y="950"/>
                      <a:pt x="728" y="928"/>
                      <a:pt x="735" y="936"/>
                    </a:cubicBezTo>
                    <a:cubicBezTo>
                      <a:pt x="734" y="932"/>
                      <a:pt x="734" y="928"/>
                      <a:pt x="733" y="923"/>
                    </a:cubicBezTo>
                    <a:cubicBezTo>
                      <a:pt x="732" y="921"/>
                      <a:pt x="729" y="918"/>
                      <a:pt x="729" y="916"/>
                    </a:cubicBezTo>
                    <a:cubicBezTo>
                      <a:pt x="729" y="913"/>
                      <a:pt x="730" y="912"/>
                      <a:pt x="731" y="910"/>
                    </a:cubicBezTo>
                    <a:cubicBezTo>
                      <a:pt x="731" y="906"/>
                      <a:pt x="729" y="900"/>
                      <a:pt x="735" y="904"/>
                    </a:cubicBezTo>
                    <a:cubicBezTo>
                      <a:pt x="734" y="899"/>
                      <a:pt x="735" y="894"/>
                      <a:pt x="736" y="890"/>
                    </a:cubicBezTo>
                    <a:cubicBezTo>
                      <a:pt x="738" y="886"/>
                      <a:pt x="737" y="888"/>
                      <a:pt x="736" y="884"/>
                    </a:cubicBezTo>
                    <a:cubicBezTo>
                      <a:pt x="736" y="882"/>
                      <a:pt x="741" y="877"/>
                      <a:pt x="738" y="875"/>
                    </a:cubicBezTo>
                    <a:cubicBezTo>
                      <a:pt x="737" y="873"/>
                      <a:pt x="738" y="873"/>
                      <a:pt x="738" y="869"/>
                    </a:cubicBezTo>
                    <a:cubicBezTo>
                      <a:pt x="739" y="867"/>
                      <a:pt x="738" y="864"/>
                      <a:pt x="738" y="862"/>
                    </a:cubicBezTo>
                    <a:cubicBezTo>
                      <a:pt x="739" y="859"/>
                      <a:pt x="740" y="858"/>
                      <a:pt x="740" y="856"/>
                    </a:cubicBezTo>
                    <a:cubicBezTo>
                      <a:pt x="741" y="849"/>
                      <a:pt x="739" y="842"/>
                      <a:pt x="740" y="836"/>
                    </a:cubicBezTo>
                    <a:cubicBezTo>
                      <a:pt x="740" y="833"/>
                      <a:pt x="742" y="832"/>
                      <a:pt x="742" y="830"/>
                    </a:cubicBezTo>
                    <a:cubicBezTo>
                      <a:pt x="741" y="824"/>
                      <a:pt x="736" y="819"/>
                      <a:pt x="736" y="813"/>
                    </a:cubicBezTo>
                    <a:cubicBezTo>
                      <a:pt x="736" y="810"/>
                      <a:pt x="734" y="814"/>
                      <a:pt x="731" y="813"/>
                    </a:cubicBezTo>
                    <a:cubicBezTo>
                      <a:pt x="728" y="809"/>
                      <a:pt x="723" y="804"/>
                      <a:pt x="718" y="804"/>
                    </a:cubicBezTo>
                    <a:cubicBezTo>
                      <a:pt x="717" y="804"/>
                      <a:pt x="715" y="799"/>
                      <a:pt x="714" y="800"/>
                    </a:cubicBezTo>
                    <a:cubicBezTo>
                      <a:pt x="711" y="803"/>
                      <a:pt x="714" y="799"/>
                      <a:pt x="712" y="798"/>
                    </a:cubicBezTo>
                    <a:cubicBezTo>
                      <a:pt x="709" y="796"/>
                      <a:pt x="704" y="800"/>
                      <a:pt x="708" y="795"/>
                    </a:cubicBezTo>
                    <a:cubicBezTo>
                      <a:pt x="708" y="791"/>
                      <a:pt x="703" y="794"/>
                      <a:pt x="701" y="793"/>
                    </a:cubicBezTo>
                    <a:cubicBezTo>
                      <a:pt x="700" y="792"/>
                      <a:pt x="702" y="789"/>
                      <a:pt x="701" y="789"/>
                    </a:cubicBezTo>
                    <a:cubicBezTo>
                      <a:pt x="700" y="788"/>
                      <a:pt x="698" y="788"/>
                      <a:pt x="697" y="787"/>
                    </a:cubicBezTo>
                    <a:cubicBezTo>
                      <a:pt x="695" y="785"/>
                      <a:pt x="692" y="780"/>
                      <a:pt x="692" y="774"/>
                    </a:cubicBezTo>
                    <a:cubicBezTo>
                      <a:pt x="692" y="772"/>
                      <a:pt x="689" y="773"/>
                      <a:pt x="688" y="772"/>
                    </a:cubicBezTo>
                    <a:cubicBezTo>
                      <a:pt x="686" y="771"/>
                      <a:pt x="688" y="763"/>
                      <a:pt x="684" y="763"/>
                    </a:cubicBezTo>
                    <a:cubicBezTo>
                      <a:pt x="681" y="763"/>
                      <a:pt x="679" y="752"/>
                      <a:pt x="677" y="748"/>
                    </a:cubicBezTo>
                    <a:cubicBezTo>
                      <a:pt x="675" y="745"/>
                      <a:pt x="672" y="741"/>
                      <a:pt x="669" y="737"/>
                    </a:cubicBezTo>
                    <a:cubicBezTo>
                      <a:pt x="668" y="735"/>
                      <a:pt x="666" y="734"/>
                      <a:pt x="666" y="733"/>
                    </a:cubicBezTo>
                    <a:cubicBezTo>
                      <a:pt x="665" y="732"/>
                      <a:pt x="666" y="730"/>
                      <a:pt x="666" y="729"/>
                    </a:cubicBezTo>
                    <a:cubicBezTo>
                      <a:pt x="665" y="727"/>
                      <a:pt x="663" y="729"/>
                      <a:pt x="662" y="727"/>
                    </a:cubicBezTo>
                    <a:cubicBezTo>
                      <a:pt x="662" y="727"/>
                      <a:pt x="659" y="713"/>
                      <a:pt x="658" y="724"/>
                    </a:cubicBezTo>
                    <a:cubicBezTo>
                      <a:pt x="654" y="722"/>
                      <a:pt x="657" y="712"/>
                      <a:pt x="656" y="707"/>
                    </a:cubicBezTo>
                    <a:cubicBezTo>
                      <a:pt x="661" y="707"/>
                      <a:pt x="661" y="702"/>
                      <a:pt x="664" y="699"/>
                    </a:cubicBezTo>
                    <a:cubicBezTo>
                      <a:pt x="665" y="694"/>
                      <a:pt x="660" y="696"/>
                      <a:pt x="658" y="694"/>
                    </a:cubicBezTo>
                    <a:cubicBezTo>
                      <a:pt x="658" y="688"/>
                      <a:pt x="661" y="686"/>
                      <a:pt x="660" y="679"/>
                    </a:cubicBezTo>
                    <a:cubicBezTo>
                      <a:pt x="661" y="678"/>
                      <a:pt x="663" y="677"/>
                      <a:pt x="666" y="677"/>
                    </a:cubicBezTo>
                    <a:cubicBezTo>
                      <a:pt x="666" y="676"/>
                      <a:pt x="665" y="673"/>
                      <a:pt x="666" y="672"/>
                    </a:cubicBezTo>
                    <a:cubicBezTo>
                      <a:pt x="666" y="671"/>
                      <a:pt x="669" y="672"/>
                      <a:pt x="669" y="672"/>
                    </a:cubicBezTo>
                    <a:cubicBezTo>
                      <a:pt x="670" y="671"/>
                      <a:pt x="669" y="670"/>
                      <a:pt x="669" y="670"/>
                    </a:cubicBezTo>
                    <a:cubicBezTo>
                      <a:pt x="670" y="669"/>
                      <a:pt x="674" y="666"/>
                      <a:pt x="673" y="666"/>
                    </a:cubicBezTo>
                    <a:cubicBezTo>
                      <a:pt x="673" y="666"/>
                      <a:pt x="671" y="666"/>
                      <a:pt x="671" y="666"/>
                    </a:cubicBezTo>
                    <a:cubicBezTo>
                      <a:pt x="671" y="666"/>
                      <a:pt x="672" y="663"/>
                      <a:pt x="673" y="664"/>
                    </a:cubicBezTo>
                    <a:cubicBezTo>
                      <a:pt x="677" y="669"/>
                      <a:pt x="674" y="661"/>
                      <a:pt x="679" y="660"/>
                    </a:cubicBezTo>
                    <a:cubicBezTo>
                      <a:pt x="682" y="660"/>
                      <a:pt x="680" y="656"/>
                      <a:pt x="682" y="653"/>
                    </a:cubicBezTo>
                    <a:cubicBezTo>
                      <a:pt x="682" y="653"/>
                      <a:pt x="691" y="646"/>
                      <a:pt x="686" y="642"/>
                    </a:cubicBezTo>
                    <a:cubicBezTo>
                      <a:pt x="684" y="639"/>
                      <a:pt x="686" y="641"/>
                      <a:pt x="686" y="638"/>
                    </a:cubicBezTo>
                    <a:cubicBezTo>
                      <a:pt x="686" y="634"/>
                      <a:pt x="682" y="620"/>
                      <a:pt x="684" y="616"/>
                    </a:cubicBezTo>
                    <a:cubicBezTo>
                      <a:pt x="675" y="617"/>
                      <a:pt x="675" y="609"/>
                      <a:pt x="666" y="612"/>
                    </a:cubicBezTo>
                    <a:cubicBezTo>
                      <a:pt x="663" y="613"/>
                      <a:pt x="666" y="615"/>
                      <a:pt x="664" y="619"/>
                    </a:cubicBezTo>
                    <a:cubicBezTo>
                      <a:pt x="654" y="620"/>
                      <a:pt x="650" y="614"/>
                      <a:pt x="641" y="614"/>
                    </a:cubicBezTo>
                    <a:cubicBezTo>
                      <a:pt x="641" y="610"/>
                      <a:pt x="636" y="611"/>
                      <a:pt x="638" y="606"/>
                    </a:cubicBezTo>
                    <a:cubicBezTo>
                      <a:pt x="635" y="605"/>
                      <a:pt x="632" y="606"/>
                      <a:pt x="630" y="604"/>
                    </a:cubicBezTo>
                    <a:cubicBezTo>
                      <a:pt x="630" y="604"/>
                      <a:pt x="631" y="601"/>
                      <a:pt x="630" y="601"/>
                    </a:cubicBezTo>
                    <a:cubicBezTo>
                      <a:pt x="630" y="600"/>
                      <a:pt x="627" y="601"/>
                      <a:pt x="626" y="601"/>
                    </a:cubicBezTo>
                    <a:cubicBezTo>
                      <a:pt x="625" y="599"/>
                      <a:pt x="626" y="595"/>
                      <a:pt x="623" y="595"/>
                    </a:cubicBezTo>
                    <a:cubicBezTo>
                      <a:pt x="623" y="590"/>
                      <a:pt x="626" y="591"/>
                      <a:pt x="623" y="588"/>
                    </a:cubicBezTo>
                    <a:cubicBezTo>
                      <a:pt x="622" y="586"/>
                      <a:pt x="621" y="587"/>
                      <a:pt x="621" y="588"/>
                    </a:cubicBezTo>
                    <a:cubicBezTo>
                      <a:pt x="618" y="586"/>
                      <a:pt x="617" y="582"/>
                      <a:pt x="612" y="582"/>
                    </a:cubicBezTo>
                    <a:cubicBezTo>
                      <a:pt x="614" y="576"/>
                      <a:pt x="605" y="581"/>
                      <a:pt x="608" y="575"/>
                    </a:cubicBezTo>
                    <a:cubicBezTo>
                      <a:pt x="606" y="574"/>
                      <a:pt x="596" y="574"/>
                      <a:pt x="598" y="575"/>
                    </a:cubicBezTo>
                    <a:cubicBezTo>
                      <a:pt x="596" y="574"/>
                      <a:pt x="598" y="572"/>
                      <a:pt x="597" y="571"/>
                    </a:cubicBezTo>
                    <a:cubicBezTo>
                      <a:pt x="596" y="570"/>
                      <a:pt x="594" y="571"/>
                      <a:pt x="593" y="571"/>
                    </a:cubicBezTo>
                    <a:cubicBezTo>
                      <a:pt x="591" y="570"/>
                      <a:pt x="587" y="568"/>
                      <a:pt x="582" y="569"/>
                    </a:cubicBezTo>
                    <a:cubicBezTo>
                      <a:pt x="584" y="562"/>
                      <a:pt x="578" y="566"/>
                      <a:pt x="574" y="563"/>
                    </a:cubicBezTo>
                    <a:cubicBezTo>
                      <a:pt x="574" y="563"/>
                      <a:pt x="575" y="560"/>
                      <a:pt x="574" y="560"/>
                    </a:cubicBezTo>
                    <a:cubicBezTo>
                      <a:pt x="574" y="559"/>
                      <a:pt x="571" y="560"/>
                      <a:pt x="571" y="560"/>
                    </a:cubicBezTo>
                    <a:cubicBezTo>
                      <a:pt x="570" y="559"/>
                      <a:pt x="571" y="557"/>
                      <a:pt x="571" y="556"/>
                    </a:cubicBezTo>
                    <a:cubicBezTo>
                      <a:pt x="570" y="555"/>
                      <a:pt x="567" y="556"/>
                      <a:pt x="567" y="556"/>
                    </a:cubicBezTo>
                    <a:cubicBezTo>
                      <a:pt x="566" y="555"/>
                      <a:pt x="567" y="553"/>
                      <a:pt x="567" y="552"/>
                    </a:cubicBezTo>
                    <a:cubicBezTo>
                      <a:pt x="565" y="551"/>
                      <a:pt x="565" y="554"/>
                      <a:pt x="565" y="554"/>
                    </a:cubicBezTo>
                    <a:cubicBezTo>
                      <a:pt x="564" y="554"/>
                      <a:pt x="560" y="552"/>
                      <a:pt x="559" y="550"/>
                    </a:cubicBezTo>
                    <a:cubicBezTo>
                      <a:pt x="557" y="553"/>
                      <a:pt x="556" y="550"/>
                      <a:pt x="554" y="550"/>
                    </a:cubicBezTo>
                    <a:cubicBezTo>
                      <a:pt x="551" y="551"/>
                      <a:pt x="548" y="554"/>
                      <a:pt x="544" y="554"/>
                    </a:cubicBezTo>
                    <a:cubicBezTo>
                      <a:pt x="540" y="554"/>
                      <a:pt x="540" y="552"/>
                      <a:pt x="537" y="552"/>
                    </a:cubicBezTo>
                    <a:cubicBezTo>
                      <a:pt x="532" y="552"/>
                      <a:pt x="534" y="555"/>
                      <a:pt x="530" y="552"/>
                    </a:cubicBezTo>
                    <a:cubicBezTo>
                      <a:pt x="527" y="551"/>
                      <a:pt x="525" y="552"/>
                      <a:pt x="520" y="550"/>
                    </a:cubicBezTo>
                    <a:cubicBezTo>
                      <a:pt x="519" y="550"/>
                      <a:pt x="519" y="547"/>
                      <a:pt x="518" y="547"/>
                    </a:cubicBezTo>
                    <a:cubicBezTo>
                      <a:pt x="517" y="546"/>
                      <a:pt x="516" y="547"/>
                      <a:pt x="515" y="547"/>
                    </a:cubicBezTo>
                    <a:cubicBezTo>
                      <a:pt x="512" y="546"/>
                      <a:pt x="504" y="545"/>
                      <a:pt x="509" y="541"/>
                    </a:cubicBezTo>
                    <a:cubicBezTo>
                      <a:pt x="504" y="541"/>
                      <a:pt x="503" y="537"/>
                      <a:pt x="498" y="537"/>
                    </a:cubicBezTo>
                    <a:cubicBezTo>
                      <a:pt x="497" y="536"/>
                      <a:pt x="496" y="534"/>
                      <a:pt x="496" y="532"/>
                    </a:cubicBezTo>
                    <a:cubicBezTo>
                      <a:pt x="488" y="531"/>
                      <a:pt x="486" y="525"/>
                      <a:pt x="477" y="524"/>
                    </a:cubicBezTo>
                    <a:cubicBezTo>
                      <a:pt x="476" y="518"/>
                      <a:pt x="472" y="515"/>
                      <a:pt x="474" y="506"/>
                    </a:cubicBezTo>
                    <a:cubicBezTo>
                      <a:pt x="473" y="498"/>
                      <a:pt x="463" y="502"/>
                      <a:pt x="468" y="494"/>
                    </a:cubicBezTo>
                    <a:cubicBezTo>
                      <a:pt x="466" y="494"/>
                      <a:pt x="465" y="495"/>
                      <a:pt x="464" y="496"/>
                    </a:cubicBezTo>
                    <a:cubicBezTo>
                      <a:pt x="462" y="496"/>
                      <a:pt x="463" y="494"/>
                      <a:pt x="462" y="493"/>
                    </a:cubicBezTo>
                    <a:cubicBezTo>
                      <a:pt x="461" y="491"/>
                      <a:pt x="457" y="491"/>
                      <a:pt x="457" y="487"/>
                    </a:cubicBezTo>
                    <a:cubicBezTo>
                      <a:pt x="457" y="485"/>
                      <a:pt x="453" y="485"/>
                      <a:pt x="451" y="485"/>
                    </a:cubicBezTo>
                    <a:cubicBezTo>
                      <a:pt x="451" y="484"/>
                      <a:pt x="454" y="483"/>
                      <a:pt x="453" y="481"/>
                    </a:cubicBezTo>
                    <a:cubicBezTo>
                      <a:pt x="453" y="481"/>
                      <a:pt x="451" y="478"/>
                      <a:pt x="451" y="478"/>
                    </a:cubicBezTo>
                    <a:cubicBezTo>
                      <a:pt x="450" y="477"/>
                      <a:pt x="448" y="478"/>
                      <a:pt x="448" y="478"/>
                    </a:cubicBezTo>
                    <a:cubicBezTo>
                      <a:pt x="446" y="476"/>
                      <a:pt x="447" y="473"/>
                      <a:pt x="446" y="472"/>
                    </a:cubicBezTo>
                    <a:cubicBezTo>
                      <a:pt x="441" y="468"/>
                      <a:pt x="436" y="467"/>
                      <a:pt x="434" y="459"/>
                    </a:cubicBezTo>
                    <a:cubicBezTo>
                      <a:pt x="431" y="456"/>
                      <a:pt x="431" y="460"/>
                      <a:pt x="427" y="457"/>
                    </a:cubicBezTo>
                    <a:cubicBezTo>
                      <a:pt x="428" y="453"/>
                      <a:pt x="424" y="453"/>
                      <a:pt x="423" y="452"/>
                    </a:cubicBezTo>
                    <a:cubicBezTo>
                      <a:pt x="422" y="449"/>
                      <a:pt x="424" y="442"/>
                      <a:pt x="418" y="442"/>
                    </a:cubicBezTo>
                    <a:cubicBezTo>
                      <a:pt x="419" y="433"/>
                      <a:pt x="414" y="429"/>
                      <a:pt x="408" y="427"/>
                    </a:cubicBezTo>
                    <a:cubicBezTo>
                      <a:pt x="407" y="429"/>
                      <a:pt x="406" y="431"/>
                      <a:pt x="405" y="433"/>
                    </a:cubicBezTo>
                    <a:cubicBezTo>
                      <a:pt x="403" y="437"/>
                      <a:pt x="409" y="438"/>
                      <a:pt x="410" y="440"/>
                    </a:cubicBezTo>
                    <a:cubicBezTo>
                      <a:pt x="411" y="441"/>
                      <a:pt x="410" y="444"/>
                      <a:pt x="410" y="444"/>
                    </a:cubicBezTo>
                    <a:cubicBezTo>
                      <a:pt x="410" y="444"/>
                      <a:pt x="412" y="444"/>
                      <a:pt x="412" y="444"/>
                    </a:cubicBezTo>
                    <a:cubicBezTo>
                      <a:pt x="413" y="447"/>
                      <a:pt x="410" y="451"/>
                      <a:pt x="414" y="452"/>
                    </a:cubicBezTo>
                    <a:cubicBezTo>
                      <a:pt x="417" y="452"/>
                      <a:pt x="415" y="457"/>
                      <a:pt x="418" y="461"/>
                    </a:cubicBezTo>
                    <a:cubicBezTo>
                      <a:pt x="418" y="462"/>
                      <a:pt x="419" y="461"/>
                      <a:pt x="420" y="463"/>
                    </a:cubicBezTo>
                    <a:cubicBezTo>
                      <a:pt x="420" y="466"/>
                      <a:pt x="425" y="465"/>
                      <a:pt x="423" y="472"/>
                    </a:cubicBezTo>
                    <a:cubicBezTo>
                      <a:pt x="424" y="474"/>
                      <a:pt x="427" y="474"/>
                      <a:pt x="429" y="474"/>
                    </a:cubicBezTo>
                    <a:cubicBezTo>
                      <a:pt x="427" y="476"/>
                      <a:pt x="431" y="477"/>
                      <a:pt x="431" y="478"/>
                    </a:cubicBezTo>
                    <a:cubicBezTo>
                      <a:pt x="431" y="479"/>
                      <a:pt x="429" y="482"/>
                      <a:pt x="429" y="481"/>
                    </a:cubicBezTo>
                    <a:cubicBezTo>
                      <a:pt x="430" y="484"/>
                      <a:pt x="435" y="483"/>
                      <a:pt x="433" y="489"/>
                    </a:cubicBezTo>
                    <a:cubicBezTo>
                      <a:pt x="430" y="487"/>
                      <a:pt x="429" y="484"/>
                      <a:pt x="423" y="485"/>
                    </a:cubicBezTo>
                    <a:cubicBezTo>
                      <a:pt x="426" y="478"/>
                      <a:pt x="419" y="479"/>
                      <a:pt x="420" y="474"/>
                    </a:cubicBezTo>
                    <a:cubicBezTo>
                      <a:pt x="419" y="471"/>
                      <a:pt x="416" y="470"/>
                      <a:pt x="414" y="468"/>
                    </a:cubicBezTo>
                    <a:cubicBezTo>
                      <a:pt x="412" y="467"/>
                      <a:pt x="411" y="465"/>
                      <a:pt x="410" y="463"/>
                    </a:cubicBezTo>
                    <a:cubicBezTo>
                      <a:pt x="407" y="462"/>
                      <a:pt x="404" y="462"/>
                      <a:pt x="403" y="459"/>
                    </a:cubicBezTo>
                    <a:cubicBezTo>
                      <a:pt x="403" y="454"/>
                      <a:pt x="404" y="457"/>
                      <a:pt x="406" y="457"/>
                    </a:cubicBezTo>
                    <a:cubicBezTo>
                      <a:pt x="408" y="449"/>
                      <a:pt x="400" y="451"/>
                      <a:pt x="401" y="444"/>
                    </a:cubicBezTo>
                    <a:cubicBezTo>
                      <a:pt x="397" y="443"/>
                      <a:pt x="396" y="440"/>
                      <a:pt x="392" y="440"/>
                    </a:cubicBezTo>
                    <a:cubicBezTo>
                      <a:pt x="392" y="436"/>
                      <a:pt x="395" y="436"/>
                      <a:pt x="392" y="431"/>
                    </a:cubicBezTo>
                    <a:cubicBezTo>
                      <a:pt x="391" y="430"/>
                      <a:pt x="390" y="429"/>
                      <a:pt x="390" y="429"/>
                    </a:cubicBezTo>
                    <a:cubicBezTo>
                      <a:pt x="388" y="425"/>
                      <a:pt x="389" y="419"/>
                      <a:pt x="380" y="420"/>
                    </a:cubicBezTo>
                    <a:cubicBezTo>
                      <a:pt x="382" y="418"/>
                      <a:pt x="382" y="417"/>
                      <a:pt x="380" y="414"/>
                    </a:cubicBezTo>
                    <a:cubicBezTo>
                      <a:pt x="380" y="414"/>
                      <a:pt x="379" y="411"/>
                      <a:pt x="379" y="411"/>
                    </a:cubicBezTo>
                    <a:cubicBezTo>
                      <a:pt x="378" y="410"/>
                      <a:pt x="374" y="411"/>
                      <a:pt x="373" y="411"/>
                    </a:cubicBezTo>
                    <a:cubicBezTo>
                      <a:pt x="372" y="409"/>
                      <a:pt x="377" y="409"/>
                      <a:pt x="377" y="409"/>
                    </a:cubicBezTo>
                    <a:cubicBezTo>
                      <a:pt x="376" y="405"/>
                      <a:pt x="365" y="403"/>
                      <a:pt x="360" y="401"/>
                    </a:cubicBezTo>
                    <a:cubicBezTo>
                      <a:pt x="359" y="400"/>
                      <a:pt x="359" y="399"/>
                      <a:pt x="358" y="398"/>
                    </a:cubicBezTo>
                    <a:cubicBezTo>
                      <a:pt x="357" y="395"/>
                      <a:pt x="356" y="394"/>
                      <a:pt x="354" y="392"/>
                    </a:cubicBezTo>
                    <a:cubicBezTo>
                      <a:pt x="353" y="390"/>
                      <a:pt x="353" y="385"/>
                      <a:pt x="351" y="381"/>
                    </a:cubicBezTo>
                    <a:cubicBezTo>
                      <a:pt x="350" y="380"/>
                      <a:pt x="347" y="380"/>
                      <a:pt x="347" y="379"/>
                    </a:cubicBezTo>
                    <a:cubicBezTo>
                      <a:pt x="346" y="376"/>
                      <a:pt x="348" y="372"/>
                      <a:pt x="343" y="373"/>
                    </a:cubicBezTo>
                    <a:cubicBezTo>
                      <a:pt x="344" y="366"/>
                      <a:pt x="340" y="362"/>
                      <a:pt x="336" y="357"/>
                    </a:cubicBezTo>
                    <a:cubicBezTo>
                      <a:pt x="334" y="354"/>
                      <a:pt x="334" y="349"/>
                      <a:pt x="330" y="351"/>
                    </a:cubicBezTo>
                    <a:cubicBezTo>
                      <a:pt x="333" y="329"/>
                      <a:pt x="329" y="316"/>
                      <a:pt x="330" y="289"/>
                    </a:cubicBezTo>
                    <a:cubicBezTo>
                      <a:pt x="330" y="288"/>
                      <a:pt x="328" y="288"/>
                      <a:pt x="328" y="286"/>
                    </a:cubicBezTo>
                    <a:cubicBezTo>
                      <a:pt x="327" y="285"/>
                      <a:pt x="326" y="283"/>
                      <a:pt x="324" y="282"/>
                    </a:cubicBezTo>
                    <a:cubicBezTo>
                      <a:pt x="324" y="281"/>
                      <a:pt x="323" y="280"/>
                      <a:pt x="321" y="280"/>
                    </a:cubicBezTo>
                    <a:cubicBezTo>
                      <a:pt x="320" y="271"/>
                      <a:pt x="312" y="266"/>
                      <a:pt x="306" y="260"/>
                    </a:cubicBezTo>
                    <a:cubicBezTo>
                      <a:pt x="305" y="259"/>
                      <a:pt x="304" y="258"/>
                      <a:pt x="304" y="256"/>
                    </a:cubicBezTo>
                    <a:cubicBezTo>
                      <a:pt x="305" y="257"/>
                      <a:pt x="309" y="259"/>
                      <a:pt x="310" y="256"/>
                    </a:cubicBezTo>
                    <a:cubicBezTo>
                      <a:pt x="313" y="256"/>
                      <a:pt x="312" y="261"/>
                      <a:pt x="317" y="260"/>
                    </a:cubicBezTo>
                    <a:cubicBezTo>
                      <a:pt x="318" y="261"/>
                      <a:pt x="319" y="264"/>
                      <a:pt x="319" y="267"/>
                    </a:cubicBezTo>
                    <a:cubicBezTo>
                      <a:pt x="328" y="266"/>
                      <a:pt x="330" y="272"/>
                      <a:pt x="336" y="274"/>
                    </a:cubicBezTo>
                    <a:cubicBezTo>
                      <a:pt x="335" y="281"/>
                      <a:pt x="339" y="283"/>
                      <a:pt x="341" y="286"/>
                    </a:cubicBezTo>
                    <a:cubicBezTo>
                      <a:pt x="343" y="285"/>
                      <a:pt x="344" y="282"/>
                      <a:pt x="343" y="280"/>
                    </a:cubicBezTo>
                    <a:cubicBezTo>
                      <a:pt x="343" y="278"/>
                      <a:pt x="340" y="278"/>
                      <a:pt x="339" y="276"/>
                    </a:cubicBezTo>
                    <a:cubicBezTo>
                      <a:pt x="338" y="273"/>
                      <a:pt x="338" y="271"/>
                      <a:pt x="338" y="269"/>
                    </a:cubicBezTo>
                    <a:cubicBezTo>
                      <a:pt x="337" y="268"/>
                      <a:pt x="336" y="267"/>
                      <a:pt x="336" y="267"/>
                    </a:cubicBezTo>
                    <a:cubicBezTo>
                      <a:pt x="335" y="266"/>
                      <a:pt x="337" y="264"/>
                      <a:pt x="338" y="265"/>
                    </a:cubicBezTo>
                    <a:cubicBezTo>
                      <a:pt x="335" y="261"/>
                      <a:pt x="331" y="262"/>
                      <a:pt x="332" y="258"/>
                    </a:cubicBezTo>
                    <a:cubicBezTo>
                      <a:pt x="323" y="259"/>
                      <a:pt x="322" y="252"/>
                      <a:pt x="313" y="252"/>
                    </a:cubicBezTo>
                    <a:cubicBezTo>
                      <a:pt x="316" y="246"/>
                      <a:pt x="307" y="251"/>
                      <a:pt x="310" y="245"/>
                    </a:cubicBezTo>
                    <a:cubicBezTo>
                      <a:pt x="308" y="243"/>
                      <a:pt x="305" y="245"/>
                      <a:pt x="302" y="241"/>
                    </a:cubicBezTo>
                    <a:cubicBezTo>
                      <a:pt x="302" y="239"/>
                      <a:pt x="304" y="239"/>
                      <a:pt x="306" y="239"/>
                    </a:cubicBezTo>
                    <a:cubicBezTo>
                      <a:pt x="308" y="234"/>
                      <a:pt x="299" y="237"/>
                      <a:pt x="300" y="237"/>
                    </a:cubicBezTo>
                    <a:cubicBezTo>
                      <a:pt x="298" y="236"/>
                      <a:pt x="300" y="234"/>
                      <a:pt x="298" y="233"/>
                    </a:cubicBezTo>
                    <a:cubicBezTo>
                      <a:pt x="298" y="233"/>
                      <a:pt x="295" y="234"/>
                      <a:pt x="295" y="233"/>
                    </a:cubicBezTo>
                    <a:cubicBezTo>
                      <a:pt x="294" y="232"/>
                      <a:pt x="297" y="231"/>
                      <a:pt x="297" y="230"/>
                    </a:cubicBezTo>
                    <a:cubicBezTo>
                      <a:pt x="296" y="227"/>
                      <a:pt x="294" y="230"/>
                      <a:pt x="291" y="230"/>
                    </a:cubicBezTo>
                    <a:cubicBezTo>
                      <a:pt x="287" y="227"/>
                      <a:pt x="289" y="223"/>
                      <a:pt x="287" y="220"/>
                    </a:cubicBezTo>
                    <a:cubicBezTo>
                      <a:pt x="286" y="219"/>
                      <a:pt x="284" y="218"/>
                      <a:pt x="282" y="219"/>
                    </a:cubicBezTo>
                    <a:cubicBezTo>
                      <a:pt x="288" y="208"/>
                      <a:pt x="267" y="215"/>
                      <a:pt x="269" y="204"/>
                    </a:cubicBezTo>
                    <a:cubicBezTo>
                      <a:pt x="270" y="204"/>
                      <a:pt x="272" y="204"/>
                      <a:pt x="274" y="204"/>
                    </a:cubicBezTo>
                    <a:cubicBezTo>
                      <a:pt x="275" y="199"/>
                      <a:pt x="266" y="205"/>
                      <a:pt x="269" y="198"/>
                    </a:cubicBezTo>
                    <a:cubicBezTo>
                      <a:pt x="265" y="198"/>
                      <a:pt x="261" y="198"/>
                      <a:pt x="257" y="198"/>
                    </a:cubicBezTo>
                    <a:cubicBezTo>
                      <a:pt x="262" y="195"/>
                      <a:pt x="255" y="194"/>
                      <a:pt x="259" y="192"/>
                    </a:cubicBezTo>
                    <a:cubicBezTo>
                      <a:pt x="260" y="189"/>
                      <a:pt x="254" y="189"/>
                      <a:pt x="255" y="191"/>
                    </a:cubicBezTo>
                    <a:cubicBezTo>
                      <a:pt x="252" y="187"/>
                      <a:pt x="255" y="186"/>
                      <a:pt x="252" y="181"/>
                    </a:cubicBezTo>
                    <a:cubicBezTo>
                      <a:pt x="248" y="181"/>
                      <a:pt x="244" y="181"/>
                      <a:pt x="241" y="181"/>
                    </a:cubicBezTo>
                    <a:cubicBezTo>
                      <a:pt x="242" y="179"/>
                      <a:pt x="243" y="177"/>
                      <a:pt x="244" y="174"/>
                    </a:cubicBezTo>
                    <a:cubicBezTo>
                      <a:pt x="243" y="170"/>
                      <a:pt x="239" y="173"/>
                      <a:pt x="242" y="168"/>
                    </a:cubicBezTo>
                    <a:cubicBezTo>
                      <a:pt x="236" y="169"/>
                      <a:pt x="232" y="171"/>
                      <a:pt x="224" y="170"/>
                    </a:cubicBezTo>
                    <a:cubicBezTo>
                      <a:pt x="224" y="165"/>
                      <a:pt x="219" y="163"/>
                      <a:pt x="214" y="161"/>
                    </a:cubicBezTo>
                    <a:cubicBezTo>
                      <a:pt x="213" y="160"/>
                      <a:pt x="210" y="160"/>
                      <a:pt x="209" y="159"/>
                    </a:cubicBezTo>
                    <a:cubicBezTo>
                      <a:pt x="208" y="159"/>
                      <a:pt x="209" y="156"/>
                      <a:pt x="209" y="155"/>
                    </a:cubicBezTo>
                    <a:cubicBezTo>
                      <a:pt x="208" y="154"/>
                      <a:pt x="204" y="156"/>
                      <a:pt x="205" y="153"/>
                    </a:cubicBezTo>
                    <a:cubicBezTo>
                      <a:pt x="199" y="151"/>
                      <a:pt x="186" y="157"/>
                      <a:pt x="183" y="153"/>
                    </a:cubicBezTo>
                    <a:cubicBezTo>
                      <a:pt x="183" y="153"/>
                      <a:pt x="183" y="151"/>
                      <a:pt x="183" y="151"/>
                    </a:cubicBezTo>
                    <a:cubicBezTo>
                      <a:pt x="181" y="151"/>
                      <a:pt x="179" y="153"/>
                      <a:pt x="179" y="153"/>
                    </a:cubicBezTo>
                    <a:cubicBezTo>
                      <a:pt x="177" y="153"/>
                      <a:pt x="177" y="147"/>
                      <a:pt x="170" y="150"/>
                    </a:cubicBezTo>
                    <a:cubicBezTo>
                      <a:pt x="170" y="145"/>
                      <a:pt x="161" y="147"/>
                      <a:pt x="166" y="142"/>
                    </a:cubicBezTo>
                    <a:cubicBezTo>
                      <a:pt x="165" y="142"/>
                      <a:pt x="164" y="144"/>
                      <a:pt x="162" y="144"/>
                    </a:cubicBezTo>
                    <a:cubicBezTo>
                      <a:pt x="161" y="144"/>
                      <a:pt x="160" y="142"/>
                      <a:pt x="160" y="142"/>
                    </a:cubicBezTo>
                    <a:cubicBezTo>
                      <a:pt x="157" y="143"/>
                      <a:pt x="154" y="147"/>
                      <a:pt x="151" y="144"/>
                    </a:cubicBezTo>
                    <a:cubicBezTo>
                      <a:pt x="147" y="144"/>
                      <a:pt x="150" y="151"/>
                      <a:pt x="149" y="153"/>
                    </a:cubicBezTo>
                    <a:cubicBezTo>
                      <a:pt x="148" y="153"/>
                      <a:pt x="146" y="151"/>
                      <a:pt x="144" y="151"/>
                    </a:cubicBezTo>
                    <a:cubicBezTo>
                      <a:pt x="141" y="152"/>
                      <a:pt x="143" y="155"/>
                      <a:pt x="142" y="155"/>
                    </a:cubicBezTo>
                    <a:cubicBezTo>
                      <a:pt x="140" y="156"/>
                      <a:pt x="133" y="155"/>
                      <a:pt x="131" y="157"/>
                    </a:cubicBezTo>
                    <a:cubicBezTo>
                      <a:pt x="129" y="158"/>
                      <a:pt x="129" y="160"/>
                      <a:pt x="127" y="161"/>
                    </a:cubicBezTo>
                    <a:cubicBezTo>
                      <a:pt x="124" y="161"/>
                      <a:pt x="123" y="159"/>
                      <a:pt x="119" y="159"/>
                    </a:cubicBezTo>
                    <a:cubicBezTo>
                      <a:pt x="122" y="156"/>
                      <a:pt x="127" y="155"/>
                      <a:pt x="125" y="148"/>
                    </a:cubicBezTo>
                    <a:cubicBezTo>
                      <a:pt x="128" y="148"/>
                      <a:pt x="129" y="146"/>
                      <a:pt x="129" y="144"/>
                    </a:cubicBezTo>
                    <a:cubicBezTo>
                      <a:pt x="128" y="142"/>
                      <a:pt x="125" y="142"/>
                      <a:pt x="123" y="142"/>
                    </a:cubicBezTo>
                    <a:cubicBezTo>
                      <a:pt x="121" y="144"/>
                      <a:pt x="121" y="147"/>
                      <a:pt x="118" y="150"/>
                    </a:cubicBezTo>
                    <a:cubicBezTo>
                      <a:pt x="116" y="151"/>
                      <a:pt x="116" y="153"/>
                      <a:pt x="114" y="153"/>
                    </a:cubicBezTo>
                    <a:cubicBezTo>
                      <a:pt x="112" y="153"/>
                      <a:pt x="112" y="158"/>
                      <a:pt x="108" y="157"/>
                    </a:cubicBezTo>
                    <a:cubicBezTo>
                      <a:pt x="109" y="160"/>
                      <a:pt x="107" y="161"/>
                      <a:pt x="105" y="161"/>
                    </a:cubicBezTo>
                    <a:cubicBezTo>
                      <a:pt x="105" y="163"/>
                      <a:pt x="105" y="166"/>
                      <a:pt x="105" y="168"/>
                    </a:cubicBezTo>
                    <a:cubicBezTo>
                      <a:pt x="99" y="170"/>
                      <a:pt x="98" y="176"/>
                      <a:pt x="93" y="179"/>
                    </a:cubicBezTo>
                    <a:cubicBezTo>
                      <a:pt x="93" y="180"/>
                      <a:pt x="90" y="179"/>
                      <a:pt x="90" y="179"/>
                    </a:cubicBezTo>
                    <a:cubicBezTo>
                      <a:pt x="89" y="180"/>
                      <a:pt x="90" y="183"/>
                      <a:pt x="90" y="183"/>
                    </a:cubicBezTo>
                    <a:cubicBezTo>
                      <a:pt x="89" y="183"/>
                      <a:pt x="82" y="183"/>
                      <a:pt x="84" y="185"/>
                    </a:cubicBezTo>
                    <a:cubicBezTo>
                      <a:pt x="88" y="188"/>
                      <a:pt x="79" y="187"/>
                      <a:pt x="77" y="191"/>
                    </a:cubicBezTo>
                    <a:cubicBezTo>
                      <a:pt x="76" y="191"/>
                      <a:pt x="74" y="197"/>
                      <a:pt x="73" y="196"/>
                    </a:cubicBezTo>
                    <a:cubicBezTo>
                      <a:pt x="71" y="194"/>
                      <a:pt x="72" y="195"/>
                      <a:pt x="71" y="198"/>
                    </a:cubicBezTo>
                    <a:cubicBezTo>
                      <a:pt x="68" y="198"/>
                      <a:pt x="66" y="198"/>
                      <a:pt x="64" y="198"/>
                    </a:cubicBezTo>
                    <a:cubicBezTo>
                      <a:pt x="60" y="200"/>
                      <a:pt x="67" y="201"/>
                      <a:pt x="58" y="202"/>
                    </a:cubicBezTo>
                    <a:cubicBezTo>
                      <a:pt x="54" y="202"/>
                      <a:pt x="51" y="202"/>
                      <a:pt x="47" y="204"/>
                    </a:cubicBezTo>
                    <a:cubicBezTo>
                      <a:pt x="44" y="205"/>
                      <a:pt x="44" y="210"/>
                      <a:pt x="39" y="207"/>
                    </a:cubicBezTo>
                    <a:cubicBezTo>
                      <a:pt x="39" y="202"/>
                      <a:pt x="45" y="204"/>
                      <a:pt x="49" y="202"/>
                    </a:cubicBezTo>
                    <a:cubicBezTo>
                      <a:pt x="50" y="201"/>
                      <a:pt x="50" y="202"/>
                      <a:pt x="50" y="200"/>
                    </a:cubicBezTo>
                    <a:cubicBezTo>
                      <a:pt x="51" y="197"/>
                      <a:pt x="55" y="198"/>
                      <a:pt x="58" y="198"/>
                    </a:cubicBezTo>
                    <a:cubicBezTo>
                      <a:pt x="61" y="198"/>
                      <a:pt x="59" y="194"/>
                      <a:pt x="60" y="192"/>
                    </a:cubicBezTo>
                    <a:cubicBezTo>
                      <a:pt x="61" y="191"/>
                      <a:pt x="62" y="196"/>
                      <a:pt x="65" y="191"/>
                    </a:cubicBezTo>
                    <a:cubicBezTo>
                      <a:pt x="66" y="190"/>
                      <a:pt x="67" y="191"/>
                      <a:pt x="67" y="189"/>
                    </a:cubicBezTo>
                    <a:cubicBezTo>
                      <a:pt x="67" y="186"/>
                      <a:pt x="72" y="187"/>
                      <a:pt x="75" y="185"/>
                    </a:cubicBezTo>
                    <a:cubicBezTo>
                      <a:pt x="75" y="182"/>
                      <a:pt x="75" y="179"/>
                      <a:pt x="75" y="176"/>
                    </a:cubicBezTo>
                    <a:cubicBezTo>
                      <a:pt x="81" y="182"/>
                      <a:pt x="75" y="170"/>
                      <a:pt x="82" y="172"/>
                    </a:cubicBezTo>
                    <a:cubicBezTo>
                      <a:pt x="83" y="167"/>
                      <a:pt x="74" y="173"/>
                      <a:pt x="77" y="166"/>
                    </a:cubicBezTo>
                    <a:cubicBezTo>
                      <a:pt x="75" y="171"/>
                      <a:pt x="63" y="165"/>
                      <a:pt x="62" y="170"/>
                    </a:cubicBezTo>
                    <a:cubicBezTo>
                      <a:pt x="59" y="171"/>
                      <a:pt x="61" y="167"/>
                      <a:pt x="60" y="166"/>
                    </a:cubicBezTo>
                    <a:cubicBezTo>
                      <a:pt x="57" y="165"/>
                      <a:pt x="52" y="168"/>
                      <a:pt x="49" y="166"/>
                    </a:cubicBezTo>
                    <a:cubicBezTo>
                      <a:pt x="51" y="162"/>
                      <a:pt x="46" y="164"/>
                      <a:pt x="45" y="163"/>
                    </a:cubicBezTo>
                    <a:cubicBezTo>
                      <a:pt x="44" y="161"/>
                      <a:pt x="46" y="160"/>
                      <a:pt x="47" y="161"/>
                    </a:cubicBezTo>
                    <a:cubicBezTo>
                      <a:pt x="43" y="156"/>
                      <a:pt x="40" y="157"/>
                      <a:pt x="37" y="151"/>
                    </a:cubicBezTo>
                    <a:cubicBezTo>
                      <a:pt x="35" y="154"/>
                      <a:pt x="29" y="153"/>
                      <a:pt x="24" y="153"/>
                    </a:cubicBezTo>
                    <a:cubicBezTo>
                      <a:pt x="24" y="151"/>
                      <a:pt x="25" y="150"/>
                      <a:pt x="26" y="150"/>
                    </a:cubicBezTo>
                    <a:cubicBezTo>
                      <a:pt x="25" y="146"/>
                      <a:pt x="19" y="147"/>
                      <a:pt x="21" y="140"/>
                    </a:cubicBezTo>
                    <a:cubicBezTo>
                      <a:pt x="20" y="138"/>
                      <a:pt x="17" y="136"/>
                      <a:pt x="17" y="138"/>
                    </a:cubicBezTo>
                    <a:cubicBezTo>
                      <a:pt x="12" y="138"/>
                      <a:pt x="16" y="133"/>
                      <a:pt x="17" y="131"/>
                    </a:cubicBezTo>
                    <a:cubicBezTo>
                      <a:pt x="17" y="130"/>
                      <a:pt x="16" y="128"/>
                      <a:pt x="17" y="127"/>
                    </a:cubicBezTo>
                    <a:cubicBezTo>
                      <a:pt x="17" y="127"/>
                      <a:pt x="20" y="128"/>
                      <a:pt x="21" y="127"/>
                    </a:cubicBezTo>
                    <a:cubicBezTo>
                      <a:pt x="22" y="126"/>
                      <a:pt x="21" y="123"/>
                      <a:pt x="22" y="122"/>
                    </a:cubicBezTo>
                    <a:cubicBezTo>
                      <a:pt x="27" y="121"/>
                      <a:pt x="34" y="120"/>
                      <a:pt x="37" y="118"/>
                    </a:cubicBezTo>
                    <a:cubicBezTo>
                      <a:pt x="40" y="116"/>
                      <a:pt x="42" y="117"/>
                      <a:pt x="45" y="116"/>
                    </a:cubicBezTo>
                    <a:cubicBezTo>
                      <a:pt x="48" y="115"/>
                      <a:pt x="42" y="111"/>
                      <a:pt x="52" y="112"/>
                    </a:cubicBezTo>
                    <a:cubicBezTo>
                      <a:pt x="51" y="108"/>
                      <a:pt x="51" y="104"/>
                      <a:pt x="49" y="97"/>
                    </a:cubicBezTo>
                    <a:cubicBezTo>
                      <a:pt x="45" y="93"/>
                      <a:pt x="34" y="104"/>
                      <a:pt x="30" y="99"/>
                    </a:cubicBezTo>
                    <a:cubicBezTo>
                      <a:pt x="27" y="96"/>
                      <a:pt x="29" y="101"/>
                      <a:pt x="22" y="101"/>
                    </a:cubicBezTo>
                    <a:cubicBezTo>
                      <a:pt x="21" y="98"/>
                      <a:pt x="14" y="100"/>
                      <a:pt x="9" y="97"/>
                    </a:cubicBezTo>
                    <a:cubicBezTo>
                      <a:pt x="9" y="97"/>
                      <a:pt x="13" y="94"/>
                      <a:pt x="9" y="94"/>
                    </a:cubicBezTo>
                    <a:cubicBezTo>
                      <a:pt x="6" y="93"/>
                      <a:pt x="3" y="92"/>
                      <a:pt x="2" y="86"/>
                    </a:cubicBezTo>
                    <a:cubicBezTo>
                      <a:pt x="13" y="87"/>
                      <a:pt x="0" y="81"/>
                      <a:pt x="13" y="82"/>
                    </a:cubicBezTo>
                    <a:cubicBezTo>
                      <a:pt x="15" y="82"/>
                      <a:pt x="14" y="81"/>
                      <a:pt x="13" y="81"/>
                    </a:cubicBezTo>
                    <a:cubicBezTo>
                      <a:pt x="14" y="77"/>
                      <a:pt x="17" y="81"/>
                      <a:pt x="17" y="81"/>
                    </a:cubicBezTo>
                    <a:cubicBezTo>
                      <a:pt x="20" y="81"/>
                      <a:pt x="21" y="78"/>
                      <a:pt x="24" y="79"/>
                    </a:cubicBezTo>
                    <a:cubicBezTo>
                      <a:pt x="25" y="79"/>
                      <a:pt x="26" y="82"/>
                      <a:pt x="28" y="82"/>
                    </a:cubicBezTo>
                    <a:cubicBezTo>
                      <a:pt x="32" y="83"/>
                      <a:pt x="36" y="81"/>
                      <a:pt x="41" y="82"/>
                    </a:cubicBezTo>
                    <a:cubicBezTo>
                      <a:pt x="44" y="83"/>
                      <a:pt x="44" y="84"/>
                      <a:pt x="47" y="82"/>
                    </a:cubicBezTo>
                    <a:cubicBezTo>
                      <a:pt x="49" y="82"/>
                      <a:pt x="47" y="81"/>
                      <a:pt x="47" y="79"/>
                    </a:cubicBezTo>
                    <a:cubicBezTo>
                      <a:pt x="49" y="79"/>
                      <a:pt x="50" y="78"/>
                      <a:pt x="50" y="77"/>
                    </a:cubicBezTo>
                    <a:cubicBezTo>
                      <a:pt x="51" y="72"/>
                      <a:pt x="42" y="78"/>
                      <a:pt x="45" y="71"/>
                    </a:cubicBezTo>
                    <a:cubicBezTo>
                      <a:pt x="40" y="70"/>
                      <a:pt x="35" y="69"/>
                      <a:pt x="30" y="68"/>
                    </a:cubicBezTo>
                    <a:cubicBezTo>
                      <a:pt x="32" y="64"/>
                      <a:pt x="32" y="65"/>
                      <a:pt x="28" y="62"/>
                    </a:cubicBezTo>
                    <a:cubicBezTo>
                      <a:pt x="27" y="62"/>
                      <a:pt x="27" y="60"/>
                      <a:pt x="26" y="60"/>
                    </a:cubicBezTo>
                    <a:cubicBezTo>
                      <a:pt x="25" y="59"/>
                      <a:pt x="21" y="60"/>
                      <a:pt x="19" y="58"/>
                    </a:cubicBezTo>
                    <a:cubicBezTo>
                      <a:pt x="19" y="58"/>
                      <a:pt x="22" y="52"/>
                      <a:pt x="19" y="53"/>
                    </a:cubicBezTo>
                    <a:cubicBezTo>
                      <a:pt x="18" y="53"/>
                      <a:pt x="19" y="55"/>
                      <a:pt x="17" y="55"/>
                    </a:cubicBezTo>
                    <a:cubicBezTo>
                      <a:pt x="15" y="54"/>
                      <a:pt x="14" y="52"/>
                      <a:pt x="11" y="53"/>
                    </a:cubicBezTo>
                    <a:cubicBezTo>
                      <a:pt x="15" y="47"/>
                      <a:pt x="23" y="46"/>
                      <a:pt x="30" y="43"/>
                    </a:cubicBezTo>
                    <a:cubicBezTo>
                      <a:pt x="28" y="37"/>
                      <a:pt x="35" y="37"/>
                      <a:pt x="37" y="34"/>
                    </a:cubicBezTo>
                    <a:cubicBezTo>
                      <a:pt x="39" y="32"/>
                      <a:pt x="37" y="28"/>
                      <a:pt x="39" y="27"/>
                    </a:cubicBezTo>
                    <a:cubicBezTo>
                      <a:pt x="44" y="31"/>
                      <a:pt x="44" y="28"/>
                      <a:pt x="52" y="28"/>
                    </a:cubicBezTo>
                    <a:cubicBezTo>
                      <a:pt x="56" y="23"/>
                      <a:pt x="62" y="19"/>
                      <a:pt x="73" y="21"/>
                    </a:cubicBezTo>
                    <a:cubicBezTo>
                      <a:pt x="75" y="22"/>
                      <a:pt x="74" y="18"/>
                      <a:pt x="75" y="17"/>
                    </a:cubicBezTo>
                    <a:cubicBezTo>
                      <a:pt x="78" y="15"/>
                      <a:pt x="85" y="19"/>
                      <a:pt x="86" y="14"/>
                    </a:cubicBezTo>
                    <a:cubicBezTo>
                      <a:pt x="88" y="13"/>
                      <a:pt x="89" y="17"/>
                      <a:pt x="90" y="17"/>
                    </a:cubicBezTo>
                    <a:cubicBezTo>
                      <a:pt x="93" y="18"/>
                      <a:pt x="96" y="16"/>
                      <a:pt x="95" y="21"/>
                    </a:cubicBezTo>
                    <a:cubicBezTo>
                      <a:pt x="103" y="21"/>
                      <a:pt x="111" y="21"/>
                      <a:pt x="119" y="21"/>
                    </a:cubicBezTo>
                    <a:cubicBezTo>
                      <a:pt x="111" y="29"/>
                      <a:pt x="132" y="18"/>
                      <a:pt x="125" y="27"/>
                    </a:cubicBezTo>
                    <a:cubicBezTo>
                      <a:pt x="129" y="27"/>
                      <a:pt x="132" y="26"/>
                      <a:pt x="132" y="23"/>
                    </a:cubicBezTo>
                    <a:cubicBezTo>
                      <a:pt x="136" y="27"/>
                      <a:pt x="144" y="25"/>
                      <a:pt x="149" y="27"/>
                    </a:cubicBezTo>
                    <a:cubicBezTo>
                      <a:pt x="150" y="27"/>
                      <a:pt x="149" y="28"/>
                      <a:pt x="151" y="28"/>
                    </a:cubicBezTo>
                    <a:cubicBezTo>
                      <a:pt x="153" y="28"/>
                      <a:pt x="153" y="30"/>
                      <a:pt x="155" y="30"/>
                    </a:cubicBezTo>
                    <a:cubicBezTo>
                      <a:pt x="160" y="31"/>
                      <a:pt x="161" y="27"/>
                      <a:pt x="164" y="30"/>
                    </a:cubicBezTo>
                    <a:cubicBezTo>
                      <a:pt x="165" y="31"/>
                      <a:pt x="186" y="31"/>
                      <a:pt x="188" y="32"/>
                    </a:cubicBezTo>
                    <a:cubicBezTo>
                      <a:pt x="191" y="34"/>
                      <a:pt x="202" y="35"/>
                      <a:pt x="209" y="36"/>
                    </a:cubicBezTo>
                    <a:cubicBezTo>
                      <a:pt x="211" y="38"/>
                      <a:pt x="214" y="40"/>
                      <a:pt x="214" y="43"/>
                    </a:cubicBezTo>
                    <a:cubicBezTo>
                      <a:pt x="221" y="44"/>
                      <a:pt x="224" y="48"/>
                      <a:pt x="229" y="45"/>
                    </a:cubicBezTo>
                    <a:cubicBezTo>
                      <a:pt x="230" y="51"/>
                      <a:pt x="239" y="48"/>
                      <a:pt x="244" y="49"/>
                    </a:cubicBezTo>
                    <a:cubicBezTo>
                      <a:pt x="244" y="47"/>
                      <a:pt x="242" y="47"/>
                      <a:pt x="241" y="47"/>
                    </a:cubicBezTo>
                    <a:cubicBezTo>
                      <a:pt x="244" y="43"/>
                      <a:pt x="249" y="39"/>
                      <a:pt x="255" y="38"/>
                    </a:cubicBezTo>
                    <a:cubicBezTo>
                      <a:pt x="255" y="41"/>
                      <a:pt x="257" y="42"/>
                      <a:pt x="257" y="40"/>
                    </a:cubicBezTo>
                    <a:cubicBezTo>
                      <a:pt x="259" y="40"/>
                      <a:pt x="259" y="43"/>
                      <a:pt x="261" y="43"/>
                    </a:cubicBezTo>
                    <a:cubicBezTo>
                      <a:pt x="265" y="44"/>
                      <a:pt x="265" y="41"/>
                      <a:pt x="265" y="38"/>
                    </a:cubicBezTo>
                    <a:cubicBezTo>
                      <a:pt x="269" y="37"/>
                      <a:pt x="270" y="39"/>
                      <a:pt x="272" y="40"/>
                    </a:cubicBezTo>
                    <a:cubicBezTo>
                      <a:pt x="274" y="38"/>
                      <a:pt x="272" y="35"/>
                      <a:pt x="276" y="32"/>
                    </a:cubicBezTo>
                    <a:cubicBezTo>
                      <a:pt x="279" y="32"/>
                      <a:pt x="281" y="35"/>
                      <a:pt x="282" y="32"/>
                    </a:cubicBezTo>
                    <a:cubicBezTo>
                      <a:pt x="285" y="33"/>
                      <a:pt x="283" y="36"/>
                      <a:pt x="280" y="36"/>
                    </a:cubicBezTo>
                    <a:cubicBezTo>
                      <a:pt x="282" y="41"/>
                      <a:pt x="295" y="31"/>
                      <a:pt x="298" y="38"/>
                    </a:cubicBezTo>
                    <a:cubicBezTo>
                      <a:pt x="304" y="38"/>
                      <a:pt x="294" y="32"/>
                      <a:pt x="300" y="32"/>
                    </a:cubicBezTo>
                    <a:cubicBezTo>
                      <a:pt x="301" y="30"/>
                      <a:pt x="303" y="28"/>
                      <a:pt x="306" y="28"/>
                    </a:cubicBezTo>
                    <a:cubicBezTo>
                      <a:pt x="306" y="30"/>
                      <a:pt x="306" y="32"/>
                      <a:pt x="306" y="34"/>
                    </a:cubicBezTo>
                    <a:cubicBezTo>
                      <a:pt x="310" y="30"/>
                      <a:pt x="311" y="37"/>
                      <a:pt x="315" y="38"/>
                    </a:cubicBezTo>
                    <a:cubicBezTo>
                      <a:pt x="321" y="38"/>
                      <a:pt x="325" y="37"/>
                      <a:pt x="326" y="34"/>
                    </a:cubicBezTo>
                    <a:cubicBezTo>
                      <a:pt x="329" y="36"/>
                      <a:pt x="334" y="36"/>
                      <a:pt x="332" y="41"/>
                    </a:cubicBezTo>
                    <a:cubicBezTo>
                      <a:pt x="336" y="40"/>
                      <a:pt x="341" y="39"/>
                      <a:pt x="341" y="34"/>
                    </a:cubicBezTo>
                    <a:cubicBezTo>
                      <a:pt x="346" y="37"/>
                      <a:pt x="348" y="33"/>
                      <a:pt x="352" y="38"/>
                    </a:cubicBezTo>
                    <a:cubicBezTo>
                      <a:pt x="357" y="38"/>
                      <a:pt x="361" y="38"/>
                      <a:pt x="365" y="38"/>
                    </a:cubicBezTo>
                    <a:cubicBezTo>
                      <a:pt x="366" y="38"/>
                      <a:pt x="363" y="41"/>
                      <a:pt x="364" y="41"/>
                    </a:cubicBezTo>
                    <a:cubicBezTo>
                      <a:pt x="363" y="41"/>
                      <a:pt x="369" y="43"/>
                      <a:pt x="367" y="43"/>
                    </a:cubicBezTo>
                    <a:cubicBezTo>
                      <a:pt x="369" y="44"/>
                      <a:pt x="370" y="41"/>
                      <a:pt x="373" y="41"/>
                    </a:cubicBezTo>
                    <a:cubicBezTo>
                      <a:pt x="373" y="42"/>
                      <a:pt x="373" y="45"/>
                      <a:pt x="373" y="45"/>
                    </a:cubicBezTo>
                    <a:cubicBezTo>
                      <a:pt x="378" y="48"/>
                      <a:pt x="386" y="44"/>
                      <a:pt x="392" y="45"/>
                    </a:cubicBezTo>
                    <a:cubicBezTo>
                      <a:pt x="392" y="47"/>
                      <a:pt x="395" y="47"/>
                      <a:pt x="397" y="47"/>
                    </a:cubicBezTo>
                    <a:cubicBezTo>
                      <a:pt x="394" y="54"/>
                      <a:pt x="404" y="48"/>
                      <a:pt x="403" y="53"/>
                    </a:cubicBezTo>
                    <a:cubicBezTo>
                      <a:pt x="404" y="57"/>
                      <a:pt x="399" y="55"/>
                      <a:pt x="399" y="58"/>
                    </a:cubicBezTo>
                    <a:cubicBezTo>
                      <a:pt x="398" y="61"/>
                      <a:pt x="401" y="62"/>
                      <a:pt x="401" y="64"/>
                    </a:cubicBezTo>
                    <a:cubicBezTo>
                      <a:pt x="421" y="62"/>
                      <a:pt x="438" y="61"/>
                      <a:pt x="453" y="68"/>
                    </a:cubicBezTo>
                    <a:cubicBezTo>
                      <a:pt x="452" y="69"/>
                      <a:pt x="451" y="71"/>
                      <a:pt x="451" y="73"/>
                    </a:cubicBezTo>
                    <a:cubicBezTo>
                      <a:pt x="455" y="73"/>
                      <a:pt x="455" y="71"/>
                      <a:pt x="459" y="71"/>
                    </a:cubicBezTo>
                    <a:cubicBezTo>
                      <a:pt x="457" y="65"/>
                      <a:pt x="458" y="67"/>
                      <a:pt x="457" y="60"/>
                    </a:cubicBezTo>
                    <a:cubicBezTo>
                      <a:pt x="458" y="57"/>
                      <a:pt x="472" y="57"/>
                      <a:pt x="468" y="55"/>
                    </a:cubicBezTo>
                    <a:cubicBezTo>
                      <a:pt x="469" y="51"/>
                      <a:pt x="471" y="54"/>
                      <a:pt x="474" y="55"/>
                    </a:cubicBezTo>
                    <a:cubicBezTo>
                      <a:pt x="474" y="57"/>
                      <a:pt x="477" y="56"/>
                      <a:pt x="477" y="58"/>
                    </a:cubicBezTo>
                    <a:cubicBezTo>
                      <a:pt x="485" y="60"/>
                      <a:pt x="490" y="57"/>
                      <a:pt x="496" y="58"/>
                    </a:cubicBezTo>
                    <a:cubicBezTo>
                      <a:pt x="496" y="58"/>
                      <a:pt x="496" y="60"/>
                      <a:pt x="498" y="60"/>
                    </a:cubicBezTo>
                    <a:cubicBezTo>
                      <a:pt x="499" y="60"/>
                      <a:pt x="500" y="62"/>
                      <a:pt x="502" y="62"/>
                    </a:cubicBezTo>
                    <a:cubicBezTo>
                      <a:pt x="508" y="62"/>
                      <a:pt x="514" y="58"/>
                      <a:pt x="524" y="60"/>
                    </a:cubicBezTo>
                    <a:cubicBezTo>
                      <a:pt x="529" y="56"/>
                      <a:pt x="528" y="53"/>
                      <a:pt x="530" y="49"/>
                    </a:cubicBezTo>
                    <a:cubicBezTo>
                      <a:pt x="528" y="43"/>
                      <a:pt x="523" y="45"/>
                      <a:pt x="522" y="43"/>
                    </a:cubicBezTo>
                    <a:cubicBezTo>
                      <a:pt x="523" y="34"/>
                      <a:pt x="540" y="39"/>
                      <a:pt x="544" y="41"/>
                    </a:cubicBezTo>
                    <a:cubicBezTo>
                      <a:pt x="544" y="44"/>
                      <a:pt x="542" y="45"/>
                      <a:pt x="539" y="45"/>
                    </a:cubicBezTo>
                    <a:cubicBezTo>
                      <a:pt x="543" y="49"/>
                      <a:pt x="539" y="50"/>
                      <a:pt x="537" y="53"/>
                    </a:cubicBezTo>
                    <a:cubicBezTo>
                      <a:pt x="536" y="57"/>
                      <a:pt x="540" y="56"/>
                      <a:pt x="543" y="56"/>
                    </a:cubicBezTo>
                    <a:cubicBezTo>
                      <a:pt x="540" y="62"/>
                      <a:pt x="544" y="63"/>
                      <a:pt x="541" y="68"/>
                    </a:cubicBezTo>
                    <a:cubicBezTo>
                      <a:pt x="546" y="71"/>
                      <a:pt x="550" y="59"/>
                      <a:pt x="548" y="60"/>
                    </a:cubicBezTo>
                    <a:cubicBezTo>
                      <a:pt x="549" y="59"/>
                      <a:pt x="554" y="65"/>
                      <a:pt x="552" y="56"/>
                    </a:cubicBezTo>
                    <a:cubicBezTo>
                      <a:pt x="560" y="58"/>
                      <a:pt x="558" y="49"/>
                      <a:pt x="563" y="47"/>
                    </a:cubicBezTo>
                    <a:cubicBezTo>
                      <a:pt x="561" y="42"/>
                      <a:pt x="558" y="38"/>
                      <a:pt x="550" y="38"/>
                    </a:cubicBezTo>
                    <a:cubicBezTo>
                      <a:pt x="554" y="35"/>
                      <a:pt x="546" y="30"/>
                      <a:pt x="541" y="28"/>
                    </a:cubicBezTo>
                    <a:cubicBezTo>
                      <a:pt x="541" y="26"/>
                      <a:pt x="541" y="23"/>
                      <a:pt x="539" y="23"/>
                    </a:cubicBezTo>
                    <a:cubicBezTo>
                      <a:pt x="539" y="19"/>
                      <a:pt x="544" y="17"/>
                      <a:pt x="544" y="14"/>
                    </a:cubicBezTo>
                    <a:cubicBezTo>
                      <a:pt x="544" y="13"/>
                      <a:pt x="549" y="11"/>
                      <a:pt x="548" y="10"/>
                    </a:cubicBezTo>
                    <a:cubicBezTo>
                      <a:pt x="543" y="5"/>
                      <a:pt x="555" y="11"/>
                      <a:pt x="550" y="6"/>
                    </a:cubicBezTo>
                    <a:cubicBezTo>
                      <a:pt x="550" y="0"/>
                      <a:pt x="555" y="8"/>
                      <a:pt x="556" y="8"/>
                    </a:cubicBezTo>
                    <a:cubicBezTo>
                      <a:pt x="558" y="9"/>
                      <a:pt x="561" y="7"/>
                      <a:pt x="563" y="8"/>
                    </a:cubicBezTo>
                    <a:cubicBezTo>
                      <a:pt x="564" y="8"/>
                      <a:pt x="560" y="11"/>
                      <a:pt x="561" y="12"/>
                    </a:cubicBezTo>
                    <a:cubicBezTo>
                      <a:pt x="562" y="12"/>
                      <a:pt x="566" y="11"/>
                      <a:pt x="567" y="12"/>
                    </a:cubicBezTo>
                    <a:cubicBezTo>
                      <a:pt x="568" y="13"/>
                      <a:pt x="566" y="16"/>
                      <a:pt x="567" y="17"/>
                    </a:cubicBezTo>
                    <a:cubicBezTo>
                      <a:pt x="567" y="18"/>
                      <a:pt x="570" y="17"/>
                      <a:pt x="571" y="17"/>
                    </a:cubicBezTo>
                    <a:cubicBezTo>
                      <a:pt x="572" y="22"/>
                      <a:pt x="567" y="20"/>
                      <a:pt x="571" y="25"/>
                    </a:cubicBezTo>
                    <a:cubicBezTo>
                      <a:pt x="571" y="26"/>
                      <a:pt x="573" y="26"/>
                      <a:pt x="572" y="28"/>
                    </a:cubicBezTo>
                    <a:cubicBezTo>
                      <a:pt x="572" y="28"/>
                      <a:pt x="571" y="29"/>
                      <a:pt x="571" y="30"/>
                    </a:cubicBezTo>
                    <a:cubicBezTo>
                      <a:pt x="570" y="33"/>
                      <a:pt x="569" y="34"/>
                      <a:pt x="569" y="36"/>
                    </a:cubicBezTo>
                    <a:cubicBezTo>
                      <a:pt x="568" y="39"/>
                      <a:pt x="581" y="40"/>
                      <a:pt x="578" y="34"/>
                    </a:cubicBezTo>
                    <a:cubicBezTo>
                      <a:pt x="582" y="34"/>
                      <a:pt x="580" y="39"/>
                      <a:pt x="585" y="38"/>
                    </a:cubicBezTo>
                    <a:cubicBezTo>
                      <a:pt x="582" y="41"/>
                      <a:pt x="587" y="41"/>
                      <a:pt x="585" y="47"/>
                    </a:cubicBezTo>
                    <a:cubicBezTo>
                      <a:pt x="594" y="48"/>
                      <a:pt x="592" y="41"/>
                      <a:pt x="598" y="45"/>
                    </a:cubicBezTo>
                    <a:cubicBezTo>
                      <a:pt x="600" y="46"/>
                      <a:pt x="600" y="44"/>
                      <a:pt x="600" y="43"/>
                    </a:cubicBezTo>
                    <a:cubicBezTo>
                      <a:pt x="605" y="45"/>
                      <a:pt x="598" y="45"/>
                      <a:pt x="602" y="49"/>
                    </a:cubicBezTo>
                    <a:cubicBezTo>
                      <a:pt x="602" y="49"/>
                      <a:pt x="606" y="51"/>
                      <a:pt x="606" y="51"/>
                    </a:cubicBezTo>
                    <a:cubicBezTo>
                      <a:pt x="606" y="54"/>
                      <a:pt x="599" y="56"/>
                      <a:pt x="602" y="62"/>
                    </a:cubicBezTo>
                    <a:close/>
                    <a:moveTo>
                      <a:pt x="380" y="82"/>
                    </a:moveTo>
                    <a:cubicBezTo>
                      <a:pt x="380" y="79"/>
                      <a:pt x="383" y="78"/>
                      <a:pt x="380" y="77"/>
                    </a:cubicBezTo>
                    <a:cubicBezTo>
                      <a:pt x="380" y="78"/>
                      <a:pt x="380" y="79"/>
                      <a:pt x="379" y="79"/>
                    </a:cubicBezTo>
                    <a:cubicBezTo>
                      <a:pt x="378" y="77"/>
                      <a:pt x="379" y="73"/>
                      <a:pt x="377" y="73"/>
                    </a:cubicBezTo>
                    <a:cubicBezTo>
                      <a:pt x="374" y="76"/>
                      <a:pt x="366" y="82"/>
                      <a:pt x="362" y="77"/>
                    </a:cubicBezTo>
                    <a:cubicBezTo>
                      <a:pt x="361" y="72"/>
                      <a:pt x="370" y="78"/>
                      <a:pt x="367" y="71"/>
                    </a:cubicBezTo>
                    <a:cubicBezTo>
                      <a:pt x="366" y="71"/>
                      <a:pt x="364" y="71"/>
                      <a:pt x="364" y="69"/>
                    </a:cubicBezTo>
                    <a:cubicBezTo>
                      <a:pt x="360" y="68"/>
                      <a:pt x="359" y="72"/>
                      <a:pt x="356" y="73"/>
                    </a:cubicBezTo>
                    <a:cubicBezTo>
                      <a:pt x="352" y="74"/>
                      <a:pt x="348" y="74"/>
                      <a:pt x="343" y="75"/>
                    </a:cubicBezTo>
                    <a:cubicBezTo>
                      <a:pt x="343" y="75"/>
                      <a:pt x="343" y="77"/>
                      <a:pt x="341" y="77"/>
                    </a:cubicBezTo>
                    <a:cubicBezTo>
                      <a:pt x="335" y="79"/>
                      <a:pt x="329" y="79"/>
                      <a:pt x="323" y="79"/>
                    </a:cubicBezTo>
                    <a:cubicBezTo>
                      <a:pt x="323" y="82"/>
                      <a:pt x="320" y="84"/>
                      <a:pt x="323" y="84"/>
                    </a:cubicBezTo>
                    <a:cubicBezTo>
                      <a:pt x="323" y="82"/>
                      <a:pt x="325" y="83"/>
                      <a:pt x="324" y="86"/>
                    </a:cubicBezTo>
                    <a:cubicBezTo>
                      <a:pt x="333" y="87"/>
                      <a:pt x="344" y="79"/>
                      <a:pt x="347" y="86"/>
                    </a:cubicBezTo>
                    <a:cubicBezTo>
                      <a:pt x="343" y="82"/>
                      <a:pt x="345" y="87"/>
                      <a:pt x="341" y="88"/>
                    </a:cubicBezTo>
                    <a:cubicBezTo>
                      <a:pt x="338" y="88"/>
                      <a:pt x="335" y="89"/>
                      <a:pt x="334" y="92"/>
                    </a:cubicBezTo>
                    <a:cubicBezTo>
                      <a:pt x="344" y="93"/>
                      <a:pt x="349" y="90"/>
                      <a:pt x="358" y="90"/>
                    </a:cubicBezTo>
                    <a:cubicBezTo>
                      <a:pt x="358" y="92"/>
                      <a:pt x="358" y="95"/>
                      <a:pt x="360" y="96"/>
                    </a:cubicBezTo>
                    <a:cubicBezTo>
                      <a:pt x="360" y="93"/>
                      <a:pt x="363" y="94"/>
                      <a:pt x="365" y="94"/>
                    </a:cubicBezTo>
                    <a:cubicBezTo>
                      <a:pt x="366" y="90"/>
                      <a:pt x="367" y="87"/>
                      <a:pt x="369" y="86"/>
                    </a:cubicBezTo>
                    <a:cubicBezTo>
                      <a:pt x="373" y="83"/>
                      <a:pt x="372" y="86"/>
                      <a:pt x="377" y="86"/>
                    </a:cubicBezTo>
                    <a:cubicBezTo>
                      <a:pt x="377" y="84"/>
                      <a:pt x="377" y="82"/>
                      <a:pt x="380" y="82"/>
                    </a:cubicBezTo>
                    <a:close/>
                    <a:moveTo>
                      <a:pt x="393" y="146"/>
                    </a:moveTo>
                    <a:cubicBezTo>
                      <a:pt x="395" y="141"/>
                      <a:pt x="401" y="143"/>
                      <a:pt x="403" y="140"/>
                    </a:cubicBezTo>
                    <a:cubicBezTo>
                      <a:pt x="403" y="140"/>
                      <a:pt x="406" y="141"/>
                      <a:pt x="406" y="140"/>
                    </a:cubicBezTo>
                    <a:cubicBezTo>
                      <a:pt x="409" y="139"/>
                      <a:pt x="413" y="140"/>
                      <a:pt x="416" y="138"/>
                    </a:cubicBezTo>
                    <a:cubicBezTo>
                      <a:pt x="416" y="138"/>
                      <a:pt x="417" y="135"/>
                      <a:pt x="418" y="135"/>
                    </a:cubicBezTo>
                    <a:cubicBezTo>
                      <a:pt x="422" y="131"/>
                      <a:pt x="426" y="136"/>
                      <a:pt x="427" y="133"/>
                    </a:cubicBezTo>
                    <a:cubicBezTo>
                      <a:pt x="426" y="133"/>
                      <a:pt x="425" y="131"/>
                      <a:pt x="427" y="131"/>
                    </a:cubicBezTo>
                    <a:cubicBezTo>
                      <a:pt x="431" y="131"/>
                      <a:pt x="431" y="129"/>
                      <a:pt x="433" y="131"/>
                    </a:cubicBezTo>
                    <a:cubicBezTo>
                      <a:pt x="434" y="132"/>
                      <a:pt x="435" y="129"/>
                      <a:pt x="434" y="129"/>
                    </a:cubicBezTo>
                    <a:cubicBezTo>
                      <a:pt x="431" y="130"/>
                      <a:pt x="435" y="125"/>
                      <a:pt x="438" y="129"/>
                    </a:cubicBezTo>
                    <a:cubicBezTo>
                      <a:pt x="439" y="126"/>
                      <a:pt x="442" y="124"/>
                      <a:pt x="442" y="120"/>
                    </a:cubicBezTo>
                    <a:cubicBezTo>
                      <a:pt x="435" y="118"/>
                      <a:pt x="434" y="123"/>
                      <a:pt x="427" y="122"/>
                    </a:cubicBezTo>
                    <a:cubicBezTo>
                      <a:pt x="427" y="125"/>
                      <a:pt x="425" y="126"/>
                      <a:pt x="423" y="127"/>
                    </a:cubicBezTo>
                    <a:cubicBezTo>
                      <a:pt x="417" y="130"/>
                      <a:pt x="419" y="126"/>
                      <a:pt x="414" y="127"/>
                    </a:cubicBezTo>
                    <a:cubicBezTo>
                      <a:pt x="413" y="127"/>
                      <a:pt x="413" y="129"/>
                      <a:pt x="410" y="129"/>
                    </a:cubicBezTo>
                    <a:cubicBezTo>
                      <a:pt x="408" y="129"/>
                      <a:pt x="407" y="126"/>
                      <a:pt x="403" y="127"/>
                    </a:cubicBezTo>
                    <a:cubicBezTo>
                      <a:pt x="402" y="126"/>
                      <a:pt x="403" y="124"/>
                      <a:pt x="401" y="123"/>
                    </a:cubicBezTo>
                    <a:cubicBezTo>
                      <a:pt x="401" y="126"/>
                      <a:pt x="400" y="128"/>
                      <a:pt x="399" y="129"/>
                    </a:cubicBezTo>
                    <a:cubicBezTo>
                      <a:pt x="399" y="132"/>
                      <a:pt x="402" y="131"/>
                      <a:pt x="403" y="133"/>
                    </a:cubicBezTo>
                    <a:cubicBezTo>
                      <a:pt x="397" y="131"/>
                      <a:pt x="397" y="135"/>
                      <a:pt x="395" y="137"/>
                    </a:cubicBezTo>
                    <a:cubicBezTo>
                      <a:pt x="393" y="139"/>
                      <a:pt x="388" y="137"/>
                      <a:pt x="388" y="140"/>
                    </a:cubicBezTo>
                    <a:cubicBezTo>
                      <a:pt x="388" y="145"/>
                      <a:pt x="379" y="139"/>
                      <a:pt x="382" y="146"/>
                    </a:cubicBezTo>
                    <a:cubicBezTo>
                      <a:pt x="386" y="146"/>
                      <a:pt x="390" y="146"/>
                      <a:pt x="393" y="146"/>
                    </a:cubicBezTo>
                    <a:close/>
                    <a:moveTo>
                      <a:pt x="530" y="219"/>
                    </a:moveTo>
                    <a:cubicBezTo>
                      <a:pt x="528" y="219"/>
                      <a:pt x="528" y="220"/>
                      <a:pt x="528" y="220"/>
                    </a:cubicBezTo>
                    <a:cubicBezTo>
                      <a:pt x="527" y="221"/>
                      <a:pt x="522" y="222"/>
                      <a:pt x="522" y="222"/>
                    </a:cubicBezTo>
                    <a:cubicBezTo>
                      <a:pt x="521" y="224"/>
                      <a:pt x="524" y="230"/>
                      <a:pt x="520" y="230"/>
                    </a:cubicBezTo>
                    <a:cubicBezTo>
                      <a:pt x="520" y="228"/>
                      <a:pt x="521" y="224"/>
                      <a:pt x="518" y="224"/>
                    </a:cubicBezTo>
                    <a:cubicBezTo>
                      <a:pt x="518" y="227"/>
                      <a:pt x="518" y="229"/>
                      <a:pt x="518" y="232"/>
                    </a:cubicBezTo>
                    <a:cubicBezTo>
                      <a:pt x="521" y="232"/>
                      <a:pt x="525" y="232"/>
                      <a:pt x="528" y="232"/>
                    </a:cubicBezTo>
                    <a:cubicBezTo>
                      <a:pt x="526" y="234"/>
                      <a:pt x="531" y="237"/>
                      <a:pt x="531" y="239"/>
                    </a:cubicBezTo>
                    <a:cubicBezTo>
                      <a:pt x="533" y="245"/>
                      <a:pt x="534" y="243"/>
                      <a:pt x="537" y="247"/>
                    </a:cubicBezTo>
                    <a:cubicBezTo>
                      <a:pt x="535" y="247"/>
                      <a:pt x="533" y="247"/>
                      <a:pt x="533" y="250"/>
                    </a:cubicBezTo>
                    <a:cubicBezTo>
                      <a:pt x="533" y="253"/>
                      <a:pt x="536" y="253"/>
                      <a:pt x="535" y="256"/>
                    </a:cubicBezTo>
                    <a:cubicBezTo>
                      <a:pt x="538" y="256"/>
                      <a:pt x="540" y="256"/>
                      <a:pt x="543" y="256"/>
                    </a:cubicBezTo>
                    <a:cubicBezTo>
                      <a:pt x="545" y="254"/>
                      <a:pt x="545" y="249"/>
                      <a:pt x="544" y="245"/>
                    </a:cubicBezTo>
                    <a:cubicBezTo>
                      <a:pt x="542" y="244"/>
                      <a:pt x="540" y="243"/>
                      <a:pt x="539" y="241"/>
                    </a:cubicBezTo>
                    <a:cubicBezTo>
                      <a:pt x="542" y="231"/>
                      <a:pt x="539" y="236"/>
                      <a:pt x="537" y="233"/>
                    </a:cubicBezTo>
                    <a:cubicBezTo>
                      <a:pt x="534" y="230"/>
                      <a:pt x="535" y="223"/>
                      <a:pt x="533" y="219"/>
                    </a:cubicBezTo>
                    <a:cubicBezTo>
                      <a:pt x="532" y="219"/>
                      <a:pt x="531" y="218"/>
                      <a:pt x="530" y="219"/>
                    </a:cubicBezTo>
                    <a:close/>
                    <a:moveTo>
                      <a:pt x="602" y="276"/>
                    </a:moveTo>
                    <a:cubicBezTo>
                      <a:pt x="596" y="274"/>
                      <a:pt x="598" y="279"/>
                      <a:pt x="595" y="280"/>
                    </a:cubicBezTo>
                    <a:cubicBezTo>
                      <a:pt x="594" y="279"/>
                      <a:pt x="593" y="278"/>
                      <a:pt x="591" y="278"/>
                    </a:cubicBezTo>
                    <a:cubicBezTo>
                      <a:pt x="591" y="285"/>
                      <a:pt x="584" y="281"/>
                      <a:pt x="582" y="284"/>
                    </a:cubicBezTo>
                    <a:cubicBezTo>
                      <a:pt x="580" y="285"/>
                      <a:pt x="582" y="286"/>
                      <a:pt x="580" y="288"/>
                    </a:cubicBezTo>
                    <a:cubicBezTo>
                      <a:pt x="579" y="288"/>
                      <a:pt x="576" y="287"/>
                      <a:pt x="576" y="289"/>
                    </a:cubicBezTo>
                    <a:cubicBezTo>
                      <a:pt x="579" y="290"/>
                      <a:pt x="576" y="292"/>
                      <a:pt x="576" y="295"/>
                    </a:cubicBezTo>
                    <a:cubicBezTo>
                      <a:pt x="580" y="298"/>
                      <a:pt x="581" y="292"/>
                      <a:pt x="584" y="291"/>
                    </a:cubicBezTo>
                    <a:cubicBezTo>
                      <a:pt x="587" y="290"/>
                      <a:pt x="591" y="292"/>
                      <a:pt x="595" y="291"/>
                    </a:cubicBezTo>
                    <a:cubicBezTo>
                      <a:pt x="597" y="291"/>
                      <a:pt x="597" y="290"/>
                      <a:pt x="600" y="289"/>
                    </a:cubicBezTo>
                    <a:cubicBezTo>
                      <a:pt x="605" y="289"/>
                      <a:pt x="610" y="291"/>
                      <a:pt x="612" y="293"/>
                    </a:cubicBezTo>
                    <a:cubicBezTo>
                      <a:pt x="610" y="294"/>
                      <a:pt x="608" y="293"/>
                      <a:pt x="608" y="295"/>
                    </a:cubicBezTo>
                    <a:cubicBezTo>
                      <a:pt x="609" y="294"/>
                      <a:pt x="610" y="297"/>
                      <a:pt x="610" y="297"/>
                    </a:cubicBezTo>
                    <a:cubicBezTo>
                      <a:pt x="611" y="297"/>
                      <a:pt x="612" y="295"/>
                      <a:pt x="612" y="295"/>
                    </a:cubicBezTo>
                    <a:cubicBezTo>
                      <a:pt x="619" y="296"/>
                      <a:pt x="616" y="296"/>
                      <a:pt x="621" y="293"/>
                    </a:cubicBezTo>
                    <a:cubicBezTo>
                      <a:pt x="627" y="290"/>
                      <a:pt x="630" y="295"/>
                      <a:pt x="634" y="291"/>
                    </a:cubicBezTo>
                    <a:cubicBezTo>
                      <a:pt x="629" y="290"/>
                      <a:pt x="635" y="283"/>
                      <a:pt x="630" y="288"/>
                    </a:cubicBezTo>
                    <a:cubicBezTo>
                      <a:pt x="627" y="291"/>
                      <a:pt x="626" y="280"/>
                      <a:pt x="626" y="280"/>
                    </a:cubicBezTo>
                    <a:cubicBezTo>
                      <a:pt x="626" y="279"/>
                      <a:pt x="621" y="280"/>
                      <a:pt x="623" y="276"/>
                    </a:cubicBezTo>
                    <a:cubicBezTo>
                      <a:pt x="620" y="276"/>
                      <a:pt x="616" y="276"/>
                      <a:pt x="613" y="276"/>
                    </a:cubicBezTo>
                    <a:cubicBezTo>
                      <a:pt x="614" y="274"/>
                      <a:pt x="616" y="273"/>
                      <a:pt x="613" y="271"/>
                    </a:cubicBezTo>
                    <a:cubicBezTo>
                      <a:pt x="607" y="273"/>
                      <a:pt x="609" y="271"/>
                      <a:pt x="602" y="271"/>
                    </a:cubicBezTo>
                    <a:cubicBezTo>
                      <a:pt x="601" y="273"/>
                      <a:pt x="600" y="274"/>
                      <a:pt x="602" y="276"/>
                    </a:cubicBezTo>
                    <a:close/>
                    <a:moveTo>
                      <a:pt x="653" y="323"/>
                    </a:moveTo>
                    <a:cubicBezTo>
                      <a:pt x="651" y="323"/>
                      <a:pt x="650" y="323"/>
                      <a:pt x="651" y="321"/>
                    </a:cubicBezTo>
                    <a:cubicBezTo>
                      <a:pt x="659" y="323"/>
                      <a:pt x="651" y="309"/>
                      <a:pt x="658" y="310"/>
                    </a:cubicBezTo>
                    <a:cubicBezTo>
                      <a:pt x="662" y="314"/>
                      <a:pt x="663" y="309"/>
                      <a:pt x="669" y="310"/>
                    </a:cubicBezTo>
                    <a:cubicBezTo>
                      <a:pt x="666" y="299"/>
                      <a:pt x="653" y="297"/>
                      <a:pt x="641" y="299"/>
                    </a:cubicBezTo>
                    <a:cubicBezTo>
                      <a:pt x="640" y="298"/>
                      <a:pt x="639" y="297"/>
                      <a:pt x="639" y="295"/>
                    </a:cubicBezTo>
                    <a:cubicBezTo>
                      <a:pt x="635" y="294"/>
                      <a:pt x="634" y="299"/>
                      <a:pt x="630" y="299"/>
                    </a:cubicBezTo>
                    <a:cubicBezTo>
                      <a:pt x="628" y="299"/>
                      <a:pt x="627" y="296"/>
                      <a:pt x="625" y="297"/>
                    </a:cubicBezTo>
                    <a:cubicBezTo>
                      <a:pt x="622" y="298"/>
                      <a:pt x="621" y="300"/>
                      <a:pt x="619" y="301"/>
                    </a:cubicBezTo>
                    <a:cubicBezTo>
                      <a:pt x="616" y="302"/>
                      <a:pt x="614" y="301"/>
                      <a:pt x="612" y="302"/>
                    </a:cubicBezTo>
                    <a:cubicBezTo>
                      <a:pt x="612" y="306"/>
                      <a:pt x="610" y="307"/>
                      <a:pt x="608" y="308"/>
                    </a:cubicBezTo>
                    <a:cubicBezTo>
                      <a:pt x="608" y="323"/>
                      <a:pt x="605" y="324"/>
                      <a:pt x="606" y="340"/>
                    </a:cubicBezTo>
                    <a:cubicBezTo>
                      <a:pt x="613" y="342"/>
                      <a:pt x="609" y="335"/>
                      <a:pt x="615" y="336"/>
                    </a:cubicBezTo>
                    <a:cubicBezTo>
                      <a:pt x="615" y="333"/>
                      <a:pt x="616" y="330"/>
                      <a:pt x="617" y="329"/>
                    </a:cubicBezTo>
                    <a:cubicBezTo>
                      <a:pt x="620" y="324"/>
                      <a:pt x="618" y="319"/>
                      <a:pt x="619" y="314"/>
                    </a:cubicBezTo>
                    <a:cubicBezTo>
                      <a:pt x="619" y="313"/>
                      <a:pt x="622" y="311"/>
                      <a:pt x="623" y="310"/>
                    </a:cubicBezTo>
                    <a:cubicBezTo>
                      <a:pt x="624" y="308"/>
                      <a:pt x="622" y="304"/>
                      <a:pt x="625" y="304"/>
                    </a:cubicBezTo>
                    <a:cubicBezTo>
                      <a:pt x="628" y="304"/>
                      <a:pt x="630" y="304"/>
                      <a:pt x="632" y="302"/>
                    </a:cubicBezTo>
                    <a:cubicBezTo>
                      <a:pt x="629" y="309"/>
                      <a:pt x="638" y="304"/>
                      <a:pt x="638" y="308"/>
                    </a:cubicBezTo>
                    <a:cubicBezTo>
                      <a:pt x="639" y="314"/>
                      <a:pt x="639" y="312"/>
                      <a:pt x="638" y="317"/>
                    </a:cubicBezTo>
                    <a:cubicBezTo>
                      <a:pt x="639" y="318"/>
                      <a:pt x="641" y="317"/>
                      <a:pt x="641" y="319"/>
                    </a:cubicBezTo>
                    <a:cubicBezTo>
                      <a:pt x="640" y="320"/>
                      <a:pt x="638" y="319"/>
                      <a:pt x="638" y="321"/>
                    </a:cubicBezTo>
                    <a:cubicBezTo>
                      <a:pt x="644" y="319"/>
                      <a:pt x="650" y="327"/>
                      <a:pt x="653" y="323"/>
                    </a:cubicBezTo>
                    <a:close/>
                    <a:moveTo>
                      <a:pt x="686" y="315"/>
                    </a:moveTo>
                    <a:cubicBezTo>
                      <a:pt x="686" y="315"/>
                      <a:pt x="686" y="319"/>
                      <a:pt x="686" y="319"/>
                    </a:cubicBezTo>
                    <a:cubicBezTo>
                      <a:pt x="683" y="322"/>
                      <a:pt x="675" y="314"/>
                      <a:pt x="671" y="317"/>
                    </a:cubicBezTo>
                    <a:cubicBezTo>
                      <a:pt x="672" y="321"/>
                      <a:pt x="669" y="321"/>
                      <a:pt x="667" y="323"/>
                    </a:cubicBezTo>
                    <a:cubicBezTo>
                      <a:pt x="672" y="328"/>
                      <a:pt x="673" y="325"/>
                      <a:pt x="679" y="325"/>
                    </a:cubicBezTo>
                    <a:cubicBezTo>
                      <a:pt x="683" y="325"/>
                      <a:pt x="689" y="326"/>
                      <a:pt x="692" y="323"/>
                    </a:cubicBezTo>
                    <a:cubicBezTo>
                      <a:pt x="691" y="323"/>
                      <a:pt x="690" y="321"/>
                      <a:pt x="692" y="321"/>
                    </a:cubicBezTo>
                    <a:cubicBezTo>
                      <a:pt x="693" y="321"/>
                      <a:pt x="695" y="321"/>
                      <a:pt x="695" y="319"/>
                    </a:cubicBezTo>
                    <a:cubicBezTo>
                      <a:pt x="691" y="319"/>
                      <a:pt x="689" y="316"/>
                      <a:pt x="686" y="315"/>
                    </a:cubicBezTo>
                    <a:close/>
                    <a:moveTo>
                      <a:pt x="660" y="330"/>
                    </a:moveTo>
                    <a:cubicBezTo>
                      <a:pt x="659" y="330"/>
                      <a:pt x="659" y="327"/>
                      <a:pt x="656" y="329"/>
                    </a:cubicBezTo>
                    <a:cubicBezTo>
                      <a:pt x="656" y="329"/>
                      <a:pt x="657" y="332"/>
                      <a:pt x="656" y="332"/>
                    </a:cubicBezTo>
                    <a:cubicBezTo>
                      <a:pt x="653" y="332"/>
                      <a:pt x="650" y="332"/>
                      <a:pt x="647" y="332"/>
                    </a:cubicBezTo>
                    <a:cubicBezTo>
                      <a:pt x="650" y="339"/>
                      <a:pt x="641" y="333"/>
                      <a:pt x="641" y="338"/>
                    </a:cubicBezTo>
                    <a:cubicBezTo>
                      <a:pt x="643" y="338"/>
                      <a:pt x="645" y="338"/>
                      <a:pt x="647" y="338"/>
                    </a:cubicBezTo>
                    <a:cubicBezTo>
                      <a:pt x="647" y="340"/>
                      <a:pt x="645" y="340"/>
                      <a:pt x="645" y="342"/>
                    </a:cubicBezTo>
                    <a:cubicBezTo>
                      <a:pt x="650" y="343"/>
                      <a:pt x="649" y="338"/>
                      <a:pt x="653" y="338"/>
                    </a:cubicBezTo>
                    <a:cubicBezTo>
                      <a:pt x="655" y="339"/>
                      <a:pt x="658" y="340"/>
                      <a:pt x="662" y="340"/>
                    </a:cubicBezTo>
                    <a:cubicBezTo>
                      <a:pt x="661" y="332"/>
                      <a:pt x="674" y="338"/>
                      <a:pt x="671" y="329"/>
                    </a:cubicBezTo>
                    <a:cubicBezTo>
                      <a:pt x="665" y="327"/>
                      <a:pt x="662" y="331"/>
                      <a:pt x="660" y="3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7B403D96-15A1-4D17-B34C-27740ECDEBA6}"/>
                  </a:ext>
                </a:extLst>
              </p:cNvPr>
              <p:cNvSpPr/>
              <p:nvPr/>
            </p:nvSpPr>
            <p:spPr bwMode="auto">
              <a:xfrm>
                <a:off x="5559321" y="1164304"/>
                <a:ext cx="126070" cy="191908"/>
              </a:xfrm>
              <a:custGeom>
                <a:avLst/>
                <a:gdLst>
                  <a:gd name="T0" fmla="*/ 16 w 60"/>
                  <a:gd name="T1" fmla="*/ 9 h 92"/>
                  <a:gd name="T2" fmla="*/ 30 w 60"/>
                  <a:gd name="T3" fmla="*/ 7 h 92"/>
                  <a:gd name="T4" fmla="*/ 31 w 60"/>
                  <a:gd name="T5" fmla="*/ 19 h 92"/>
                  <a:gd name="T6" fmla="*/ 22 w 60"/>
                  <a:gd name="T7" fmla="*/ 24 h 92"/>
                  <a:gd name="T8" fmla="*/ 33 w 60"/>
                  <a:gd name="T9" fmla="*/ 30 h 92"/>
                  <a:gd name="T10" fmla="*/ 39 w 60"/>
                  <a:gd name="T11" fmla="*/ 43 h 92"/>
                  <a:gd name="T12" fmla="*/ 43 w 60"/>
                  <a:gd name="T13" fmla="*/ 47 h 92"/>
                  <a:gd name="T14" fmla="*/ 50 w 60"/>
                  <a:gd name="T15" fmla="*/ 50 h 92"/>
                  <a:gd name="T16" fmla="*/ 46 w 60"/>
                  <a:gd name="T17" fmla="*/ 58 h 92"/>
                  <a:gd name="T18" fmla="*/ 58 w 60"/>
                  <a:gd name="T19" fmla="*/ 60 h 92"/>
                  <a:gd name="T20" fmla="*/ 58 w 60"/>
                  <a:gd name="T21" fmla="*/ 71 h 92"/>
                  <a:gd name="T22" fmla="*/ 54 w 60"/>
                  <a:gd name="T23" fmla="*/ 71 h 92"/>
                  <a:gd name="T24" fmla="*/ 58 w 60"/>
                  <a:gd name="T25" fmla="*/ 73 h 92"/>
                  <a:gd name="T26" fmla="*/ 54 w 60"/>
                  <a:gd name="T27" fmla="*/ 78 h 92"/>
                  <a:gd name="T28" fmla="*/ 48 w 60"/>
                  <a:gd name="T29" fmla="*/ 82 h 92"/>
                  <a:gd name="T30" fmla="*/ 30 w 60"/>
                  <a:gd name="T31" fmla="*/ 80 h 92"/>
                  <a:gd name="T32" fmla="*/ 22 w 60"/>
                  <a:gd name="T33" fmla="*/ 82 h 92"/>
                  <a:gd name="T34" fmla="*/ 9 w 60"/>
                  <a:gd name="T35" fmla="*/ 82 h 92"/>
                  <a:gd name="T36" fmla="*/ 13 w 60"/>
                  <a:gd name="T37" fmla="*/ 80 h 92"/>
                  <a:gd name="T38" fmla="*/ 15 w 60"/>
                  <a:gd name="T39" fmla="*/ 82 h 92"/>
                  <a:gd name="T40" fmla="*/ 16 w 60"/>
                  <a:gd name="T41" fmla="*/ 78 h 92"/>
                  <a:gd name="T42" fmla="*/ 28 w 60"/>
                  <a:gd name="T43" fmla="*/ 76 h 92"/>
                  <a:gd name="T44" fmla="*/ 13 w 60"/>
                  <a:gd name="T45" fmla="*/ 71 h 92"/>
                  <a:gd name="T46" fmla="*/ 13 w 60"/>
                  <a:gd name="T47" fmla="*/ 60 h 92"/>
                  <a:gd name="T48" fmla="*/ 16 w 60"/>
                  <a:gd name="T49" fmla="*/ 58 h 92"/>
                  <a:gd name="T50" fmla="*/ 24 w 60"/>
                  <a:gd name="T51" fmla="*/ 58 h 92"/>
                  <a:gd name="T52" fmla="*/ 26 w 60"/>
                  <a:gd name="T53" fmla="*/ 47 h 92"/>
                  <a:gd name="T54" fmla="*/ 20 w 60"/>
                  <a:gd name="T55" fmla="*/ 39 h 92"/>
                  <a:gd name="T56" fmla="*/ 13 w 60"/>
                  <a:gd name="T57" fmla="*/ 41 h 92"/>
                  <a:gd name="T58" fmla="*/ 13 w 60"/>
                  <a:gd name="T59" fmla="*/ 32 h 92"/>
                  <a:gd name="T60" fmla="*/ 5 w 60"/>
                  <a:gd name="T61" fmla="*/ 28 h 92"/>
                  <a:gd name="T62" fmla="*/ 0 w 60"/>
                  <a:gd name="T63" fmla="*/ 9 h 92"/>
                  <a:gd name="T64" fmla="*/ 9 w 60"/>
                  <a:gd name="T65" fmla="*/ 0 h 92"/>
                  <a:gd name="T66" fmla="*/ 26 w 60"/>
                  <a:gd name="T67" fmla="*/ 0 h 92"/>
                  <a:gd name="T68" fmla="*/ 16 w 60"/>
                  <a:gd name="T69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92">
                    <a:moveTo>
                      <a:pt x="16" y="9"/>
                    </a:moveTo>
                    <a:cubicBezTo>
                      <a:pt x="18" y="13"/>
                      <a:pt x="26" y="7"/>
                      <a:pt x="30" y="7"/>
                    </a:cubicBezTo>
                    <a:cubicBezTo>
                      <a:pt x="32" y="10"/>
                      <a:pt x="32" y="14"/>
                      <a:pt x="31" y="19"/>
                    </a:cubicBezTo>
                    <a:cubicBezTo>
                      <a:pt x="27" y="19"/>
                      <a:pt x="23" y="21"/>
                      <a:pt x="22" y="24"/>
                    </a:cubicBezTo>
                    <a:cubicBezTo>
                      <a:pt x="24" y="28"/>
                      <a:pt x="28" y="30"/>
                      <a:pt x="33" y="30"/>
                    </a:cubicBezTo>
                    <a:cubicBezTo>
                      <a:pt x="33" y="37"/>
                      <a:pt x="41" y="35"/>
                      <a:pt x="39" y="43"/>
                    </a:cubicBezTo>
                    <a:cubicBezTo>
                      <a:pt x="39" y="45"/>
                      <a:pt x="43" y="44"/>
                      <a:pt x="43" y="47"/>
                    </a:cubicBezTo>
                    <a:cubicBezTo>
                      <a:pt x="43" y="50"/>
                      <a:pt x="49" y="48"/>
                      <a:pt x="50" y="50"/>
                    </a:cubicBezTo>
                    <a:cubicBezTo>
                      <a:pt x="49" y="53"/>
                      <a:pt x="47" y="55"/>
                      <a:pt x="46" y="58"/>
                    </a:cubicBezTo>
                    <a:cubicBezTo>
                      <a:pt x="51" y="57"/>
                      <a:pt x="55" y="57"/>
                      <a:pt x="58" y="60"/>
                    </a:cubicBezTo>
                    <a:cubicBezTo>
                      <a:pt x="55" y="62"/>
                      <a:pt x="60" y="68"/>
                      <a:pt x="58" y="71"/>
                    </a:cubicBezTo>
                    <a:cubicBezTo>
                      <a:pt x="57" y="71"/>
                      <a:pt x="54" y="70"/>
                      <a:pt x="54" y="71"/>
                    </a:cubicBezTo>
                    <a:cubicBezTo>
                      <a:pt x="53" y="73"/>
                      <a:pt x="56" y="72"/>
                      <a:pt x="58" y="73"/>
                    </a:cubicBezTo>
                    <a:cubicBezTo>
                      <a:pt x="56" y="75"/>
                      <a:pt x="53" y="75"/>
                      <a:pt x="54" y="78"/>
                    </a:cubicBezTo>
                    <a:cubicBezTo>
                      <a:pt x="51" y="79"/>
                      <a:pt x="51" y="82"/>
                      <a:pt x="48" y="82"/>
                    </a:cubicBezTo>
                    <a:cubicBezTo>
                      <a:pt x="42" y="81"/>
                      <a:pt x="38" y="79"/>
                      <a:pt x="30" y="80"/>
                    </a:cubicBezTo>
                    <a:cubicBezTo>
                      <a:pt x="26" y="84"/>
                      <a:pt x="28" y="84"/>
                      <a:pt x="22" y="82"/>
                    </a:cubicBezTo>
                    <a:cubicBezTo>
                      <a:pt x="20" y="86"/>
                      <a:pt x="9" y="92"/>
                      <a:pt x="9" y="82"/>
                    </a:cubicBezTo>
                    <a:cubicBezTo>
                      <a:pt x="11" y="83"/>
                      <a:pt x="12" y="80"/>
                      <a:pt x="13" y="80"/>
                    </a:cubicBezTo>
                    <a:cubicBezTo>
                      <a:pt x="14" y="80"/>
                      <a:pt x="15" y="82"/>
                      <a:pt x="15" y="82"/>
                    </a:cubicBezTo>
                    <a:cubicBezTo>
                      <a:pt x="17" y="81"/>
                      <a:pt x="15" y="79"/>
                      <a:pt x="16" y="78"/>
                    </a:cubicBezTo>
                    <a:cubicBezTo>
                      <a:pt x="19" y="76"/>
                      <a:pt x="23" y="78"/>
                      <a:pt x="28" y="76"/>
                    </a:cubicBezTo>
                    <a:cubicBezTo>
                      <a:pt x="26" y="67"/>
                      <a:pt x="18" y="74"/>
                      <a:pt x="13" y="71"/>
                    </a:cubicBezTo>
                    <a:cubicBezTo>
                      <a:pt x="13" y="67"/>
                      <a:pt x="13" y="63"/>
                      <a:pt x="13" y="60"/>
                    </a:cubicBezTo>
                    <a:cubicBezTo>
                      <a:pt x="16" y="60"/>
                      <a:pt x="20" y="58"/>
                      <a:pt x="16" y="58"/>
                    </a:cubicBezTo>
                    <a:cubicBezTo>
                      <a:pt x="18" y="52"/>
                      <a:pt x="21" y="60"/>
                      <a:pt x="24" y="58"/>
                    </a:cubicBezTo>
                    <a:cubicBezTo>
                      <a:pt x="28" y="58"/>
                      <a:pt x="21" y="50"/>
                      <a:pt x="26" y="47"/>
                    </a:cubicBezTo>
                    <a:cubicBezTo>
                      <a:pt x="25" y="43"/>
                      <a:pt x="19" y="45"/>
                      <a:pt x="20" y="39"/>
                    </a:cubicBezTo>
                    <a:cubicBezTo>
                      <a:pt x="19" y="41"/>
                      <a:pt x="16" y="41"/>
                      <a:pt x="13" y="41"/>
                    </a:cubicBezTo>
                    <a:cubicBezTo>
                      <a:pt x="13" y="38"/>
                      <a:pt x="13" y="35"/>
                      <a:pt x="13" y="32"/>
                    </a:cubicBezTo>
                    <a:cubicBezTo>
                      <a:pt x="13" y="28"/>
                      <a:pt x="6" y="31"/>
                      <a:pt x="5" y="28"/>
                    </a:cubicBezTo>
                    <a:cubicBezTo>
                      <a:pt x="9" y="21"/>
                      <a:pt x="8" y="10"/>
                      <a:pt x="0" y="9"/>
                    </a:cubicBezTo>
                    <a:cubicBezTo>
                      <a:pt x="3" y="6"/>
                      <a:pt x="8" y="5"/>
                      <a:pt x="9" y="0"/>
                    </a:cubicBezTo>
                    <a:cubicBezTo>
                      <a:pt x="15" y="0"/>
                      <a:pt x="20" y="0"/>
                      <a:pt x="26" y="0"/>
                    </a:cubicBezTo>
                    <a:cubicBezTo>
                      <a:pt x="22" y="3"/>
                      <a:pt x="19" y="6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8E73D03F-3AEF-41A9-B3B8-E2196CEBE362}"/>
                  </a:ext>
                </a:extLst>
              </p:cNvPr>
              <p:cNvSpPr/>
              <p:nvPr/>
            </p:nvSpPr>
            <p:spPr bwMode="auto">
              <a:xfrm>
                <a:off x="3213011" y="1172709"/>
                <a:ext cx="35020" cy="28016"/>
              </a:xfrm>
              <a:custGeom>
                <a:avLst/>
                <a:gdLst>
                  <a:gd name="T0" fmla="*/ 15 w 17"/>
                  <a:gd name="T1" fmla="*/ 2 h 13"/>
                  <a:gd name="T2" fmla="*/ 17 w 17"/>
                  <a:gd name="T3" fmla="*/ 9 h 13"/>
                  <a:gd name="T4" fmla="*/ 8 w 17"/>
                  <a:gd name="T5" fmla="*/ 13 h 13"/>
                  <a:gd name="T6" fmla="*/ 8 w 17"/>
                  <a:gd name="T7" fmla="*/ 9 h 13"/>
                  <a:gd name="T8" fmla="*/ 4 w 17"/>
                  <a:gd name="T9" fmla="*/ 11 h 13"/>
                  <a:gd name="T10" fmla="*/ 6 w 17"/>
                  <a:gd name="T11" fmla="*/ 9 h 13"/>
                  <a:gd name="T12" fmla="*/ 15 w 17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3">
                    <a:moveTo>
                      <a:pt x="15" y="2"/>
                    </a:moveTo>
                    <a:cubicBezTo>
                      <a:pt x="13" y="4"/>
                      <a:pt x="14" y="7"/>
                      <a:pt x="17" y="9"/>
                    </a:cubicBezTo>
                    <a:cubicBezTo>
                      <a:pt x="15" y="12"/>
                      <a:pt x="11" y="12"/>
                      <a:pt x="8" y="13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6" y="9"/>
                      <a:pt x="6" y="11"/>
                      <a:pt x="4" y="11"/>
                    </a:cubicBezTo>
                    <a:cubicBezTo>
                      <a:pt x="0" y="9"/>
                      <a:pt x="5" y="10"/>
                      <a:pt x="6" y="9"/>
                    </a:cubicBezTo>
                    <a:cubicBezTo>
                      <a:pt x="7" y="8"/>
                      <a:pt x="11" y="0"/>
                      <a:pt x="15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DE9B8BA2-143E-4082-BB28-E25F08E83BD5}"/>
                  </a:ext>
                </a:extLst>
              </p:cNvPr>
              <p:cNvSpPr/>
              <p:nvPr/>
            </p:nvSpPr>
            <p:spPr bwMode="auto">
              <a:xfrm>
                <a:off x="7869210" y="1485083"/>
                <a:ext cx="21012" cy="22413"/>
              </a:xfrm>
              <a:custGeom>
                <a:avLst/>
                <a:gdLst>
                  <a:gd name="T0" fmla="*/ 3 w 10"/>
                  <a:gd name="T1" fmla="*/ 3 h 11"/>
                  <a:gd name="T2" fmla="*/ 10 w 10"/>
                  <a:gd name="T3" fmla="*/ 1 h 11"/>
                  <a:gd name="T4" fmla="*/ 1 w 10"/>
                  <a:gd name="T5" fmla="*/ 10 h 11"/>
                  <a:gd name="T6" fmla="*/ 3 w 10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3" y="3"/>
                    </a:moveTo>
                    <a:cubicBezTo>
                      <a:pt x="4" y="0"/>
                      <a:pt x="5" y="3"/>
                      <a:pt x="10" y="1"/>
                    </a:cubicBezTo>
                    <a:cubicBezTo>
                      <a:pt x="8" y="5"/>
                      <a:pt x="8" y="11"/>
                      <a:pt x="1" y="10"/>
                    </a:cubicBezTo>
                    <a:cubicBezTo>
                      <a:pt x="0" y="8"/>
                      <a:pt x="8" y="4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4A80331F-76A6-4A73-9E7C-96893F9A6F1D}"/>
                  </a:ext>
                </a:extLst>
              </p:cNvPr>
              <p:cNvSpPr/>
              <p:nvPr/>
            </p:nvSpPr>
            <p:spPr bwMode="auto">
              <a:xfrm>
                <a:off x="7380337" y="2095825"/>
                <a:ext cx="155487" cy="180701"/>
              </a:xfrm>
              <a:custGeom>
                <a:avLst/>
                <a:gdLst>
                  <a:gd name="T0" fmla="*/ 60 w 75"/>
                  <a:gd name="T1" fmla="*/ 5 h 87"/>
                  <a:gd name="T2" fmla="*/ 68 w 75"/>
                  <a:gd name="T3" fmla="*/ 9 h 87"/>
                  <a:gd name="T4" fmla="*/ 75 w 75"/>
                  <a:gd name="T5" fmla="*/ 14 h 87"/>
                  <a:gd name="T6" fmla="*/ 68 w 75"/>
                  <a:gd name="T7" fmla="*/ 24 h 87"/>
                  <a:gd name="T8" fmla="*/ 66 w 75"/>
                  <a:gd name="T9" fmla="*/ 35 h 87"/>
                  <a:gd name="T10" fmla="*/ 70 w 75"/>
                  <a:gd name="T11" fmla="*/ 38 h 87"/>
                  <a:gd name="T12" fmla="*/ 70 w 75"/>
                  <a:gd name="T13" fmla="*/ 44 h 87"/>
                  <a:gd name="T14" fmla="*/ 73 w 75"/>
                  <a:gd name="T15" fmla="*/ 48 h 87"/>
                  <a:gd name="T16" fmla="*/ 64 w 75"/>
                  <a:gd name="T17" fmla="*/ 53 h 87"/>
                  <a:gd name="T18" fmla="*/ 62 w 75"/>
                  <a:gd name="T19" fmla="*/ 63 h 87"/>
                  <a:gd name="T20" fmla="*/ 62 w 75"/>
                  <a:gd name="T21" fmla="*/ 66 h 87"/>
                  <a:gd name="T22" fmla="*/ 59 w 75"/>
                  <a:gd name="T23" fmla="*/ 66 h 87"/>
                  <a:gd name="T24" fmla="*/ 53 w 75"/>
                  <a:gd name="T25" fmla="*/ 74 h 87"/>
                  <a:gd name="T26" fmla="*/ 53 w 75"/>
                  <a:gd name="T27" fmla="*/ 85 h 87"/>
                  <a:gd name="T28" fmla="*/ 34 w 75"/>
                  <a:gd name="T29" fmla="*/ 79 h 87"/>
                  <a:gd name="T30" fmla="*/ 32 w 75"/>
                  <a:gd name="T31" fmla="*/ 83 h 87"/>
                  <a:gd name="T32" fmla="*/ 27 w 75"/>
                  <a:gd name="T33" fmla="*/ 79 h 87"/>
                  <a:gd name="T34" fmla="*/ 18 w 75"/>
                  <a:gd name="T35" fmla="*/ 79 h 87"/>
                  <a:gd name="T36" fmla="*/ 12 w 75"/>
                  <a:gd name="T37" fmla="*/ 78 h 87"/>
                  <a:gd name="T38" fmla="*/ 4 w 75"/>
                  <a:gd name="T39" fmla="*/ 66 h 87"/>
                  <a:gd name="T40" fmla="*/ 6 w 75"/>
                  <a:gd name="T41" fmla="*/ 59 h 87"/>
                  <a:gd name="T42" fmla="*/ 4 w 75"/>
                  <a:gd name="T43" fmla="*/ 59 h 87"/>
                  <a:gd name="T44" fmla="*/ 3 w 75"/>
                  <a:gd name="T45" fmla="*/ 44 h 87"/>
                  <a:gd name="T46" fmla="*/ 21 w 75"/>
                  <a:gd name="T47" fmla="*/ 42 h 87"/>
                  <a:gd name="T48" fmla="*/ 21 w 75"/>
                  <a:gd name="T49" fmla="*/ 37 h 87"/>
                  <a:gd name="T50" fmla="*/ 34 w 75"/>
                  <a:gd name="T51" fmla="*/ 27 h 87"/>
                  <a:gd name="T52" fmla="*/ 46 w 75"/>
                  <a:gd name="T53" fmla="*/ 24 h 87"/>
                  <a:gd name="T54" fmla="*/ 47 w 75"/>
                  <a:gd name="T55" fmla="*/ 18 h 87"/>
                  <a:gd name="T56" fmla="*/ 51 w 75"/>
                  <a:gd name="T57" fmla="*/ 18 h 87"/>
                  <a:gd name="T58" fmla="*/ 55 w 75"/>
                  <a:gd name="T59" fmla="*/ 14 h 87"/>
                  <a:gd name="T60" fmla="*/ 62 w 75"/>
                  <a:gd name="T61" fmla="*/ 5 h 87"/>
                  <a:gd name="T62" fmla="*/ 60 w 75"/>
                  <a:gd name="T63" fmla="*/ 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5" h="87">
                    <a:moveTo>
                      <a:pt x="60" y="5"/>
                    </a:moveTo>
                    <a:cubicBezTo>
                      <a:pt x="62" y="0"/>
                      <a:pt x="65" y="9"/>
                      <a:pt x="68" y="9"/>
                    </a:cubicBezTo>
                    <a:cubicBezTo>
                      <a:pt x="70" y="10"/>
                      <a:pt x="72" y="14"/>
                      <a:pt x="75" y="14"/>
                    </a:cubicBezTo>
                    <a:cubicBezTo>
                      <a:pt x="74" y="19"/>
                      <a:pt x="74" y="24"/>
                      <a:pt x="68" y="24"/>
                    </a:cubicBezTo>
                    <a:cubicBezTo>
                      <a:pt x="67" y="27"/>
                      <a:pt x="70" y="35"/>
                      <a:pt x="66" y="35"/>
                    </a:cubicBezTo>
                    <a:cubicBezTo>
                      <a:pt x="66" y="37"/>
                      <a:pt x="69" y="37"/>
                      <a:pt x="70" y="38"/>
                    </a:cubicBezTo>
                    <a:cubicBezTo>
                      <a:pt x="70" y="40"/>
                      <a:pt x="69" y="43"/>
                      <a:pt x="70" y="44"/>
                    </a:cubicBezTo>
                    <a:cubicBezTo>
                      <a:pt x="71" y="46"/>
                      <a:pt x="73" y="46"/>
                      <a:pt x="73" y="48"/>
                    </a:cubicBezTo>
                    <a:cubicBezTo>
                      <a:pt x="73" y="52"/>
                      <a:pt x="67" y="56"/>
                      <a:pt x="64" y="53"/>
                    </a:cubicBezTo>
                    <a:cubicBezTo>
                      <a:pt x="65" y="58"/>
                      <a:pt x="67" y="59"/>
                      <a:pt x="62" y="63"/>
                    </a:cubicBezTo>
                    <a:cubicBezTo>
                      <a:pt x="62" y="63"/>
                      <a:pt x="63" y="66"/>
                      <a:pt x="62" y="66"/>
                    </a:cubicBezTo>
                    <a:cubicBezTo>
                      <a:pt x="62" y="67"/>
                      <a:pt x="59" y="66"/>
                      <a:pt x="59" y="66"/>
                    </a:cubicBezTo>
                    <a:cubicBezTo>
                      <a:pt x="57" y="69"/>
                      <a:pt x="58" y="76"/>
                      <a:pt x="53" y="74"/>
                    </a:cubicBezTo>
                    <a:cubicBezTo>
                      <a:pt x="56" y="77"/>
                      <a:pt x="51" y="79"/>
                      <a:pt x="53" y="85"/>
                    </a:cubicBezTo>
                    <a:cubicBezTo>
                      <a:pt x="43" y="87"/>
                      <a:pt x="41" y="81"/>
                      <a:pt x="34" y="79"/>
                    </a:cubicBezTo>
                    <a:cubicBezTo>
                      <a:pt x="33" y="79"/>
                      <a:pt x="33" y="82"/>
                      <a:pt x="32" y="83"/>
                    </a:cubicBezTo>
                    <a:cubicBezTo>
                      <a:pt x="29" y="85"/>
                      <a:pt x="28" y="80"/>
                      <a:pt x="27" y="79"/>
                    </a:cubicBezTo>
                    <a:cubicBezTo>
                      <a:pt x="24" y="79"/>
                      <a:pt x="20" y="81"/>
                      <a:pt x="18" y="79"/>
                    </a:cubicBezTo>
                    <a:cubicBezTo>
                      <a:pt x="16" y="79"/>
                      <a:pt x="18" y="74"/>
                      <a:pt x="12" y="78"/>
                    </a:cubicBezTo>
                    <a:cubicBezTo>
                      <a:pt x="10" y="73"/>
                      <a:pt x="10" y="67"/>
                      <a:pt x="4" y="66"/>
                    </a:cubicBezTo>
                    <a:cubicBezTo>
                      <a:pt x="4" y="63"/>
                      <a:pt x="7" y="62"/>
                      <a:pt x="6" y="59"/>
                    </a:cubicBezTo>
                    <a:cubicBezTo>
                      <a:pt x="6" y="56"/>
                      <a:pt x="4" y="59"/>
                      <a:pt x="4" y="59"/>
                    </a:cubicBezTo>
                    <a:cubicBezTo>
                      <a:pt x="0" y="56"/>
                      <a:pt x="4" y="51"/>
                      <a:pt x="3" y="44"/>
                    </a:cubicBezTo>
                    <a:cubicBezTo>
                      <a:pt x="10" y="44"/>
                      <a:pt x="16" y="44"/>
                      <a:pt x="21" y="42"/>
                    </a:cubicBezTo>
                    <a:cubicBezTo>
                      <a:pt x="21" y="39"/>
                      <a:pt x="24" y="37"/>
                      <a:pt x="21" y="37"/>
                    </a:cubicBezTo>
                    <a:cubicBezTo>
                      <a:pt x="23" y="34"/>
                      <a:pt x="38" y="30"/>
                      <a:pt x="34" y="27"/>
                    </a:cubicBezTo>
                    <a:cubicBezTo>
                      <a:pt x="37" y="25"/>
                      <a:pt x="41" y="24"/>
                      <a:pt x="46" y="24"/>
                    </a:cubicBezTo>
                    <a:cubicBezTo>
                      <a:pt x="48" y="24"/>
                      <a:pt x="46" y="20"/>
                      <a:pt x="47" y="18"/>
                    </a:cubicBezTo>
                    <a:cubicBezTo>
                      <a:pt x="48" y="17"/>
                      <a:pt x="51" y="18"/>
                      <a:pt x="51" y="18"/>
                    </a:cubicBezTo>
                    <a:cubicBezTo>
                      <a:pt x="52" y="16"/>
                      <a:pt x="51" y="13"/>
                      <a:pt x="55" y="14"/>
                    </a:cubicBezTo>
                    <a:cubicBezTo>
                      <a:pt x="52" y="6"/>
                      <a:pt x="60" y="8"/>
                      <a:pt x="62" y="5"/>
                    </a:cubicBezTo>
                    <a:cubicBezTo>
                      <a:pt x="62" y="5"/>
                      <a:pt x="61" y="5"/>
                      <a:pt x="6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0880F696-B71E-43E2-9A5E-9A900BF5E6A8}"/>
                  </a:ext>
                </a:extLst>
              </p:cNvPr>
              <p:cNvSpPr/>
              <p:nvPr/>
            </p:nvSpPr>
            <p:spPr bwMode="auto">
              <a:xfrm>
                <a:off x="7540027" y="2224696"/>
                <a:ext cx="71440" cy="81245"/>
              </a:xfrm>
              <a:custGeom>
                <a:avLst/>
                <a:gdLst>
                  <a:gd name="T0" fmla="*/ 30 w 34"/>
                  <a:gd name="T1" fmla="*/ 1 h 39"/>
                  <a:gd name="T2" fmla="*/ 24 w 34"/>
                  <a:gd name="T3" fmla="*/ 8 h 39"/>
                  <a:gd name="T4" fmla="*/ 23 w 34"/>
                  <a:gd name="T5" fmla="*/ 8 h 39"/>
                  <a:gd name="T6" fmla="*/ 24 w 34"/>
                  <a:gd name="T7" fmla="*/ 14 h 39"/>
                  <a:gd name="T8" fmla="*/ 28 w 34"/>
                  <a:gd name="T9" fmla="*/ 17 h 39"/>
                  <a:gd name="T10" fmla="*/ 30 w 34"/>
                  <a:gd name="T11" fmla="*/ 34 h 39"/>
                  <a:gd name="T12" fmla="*/ 23 w 34"/>
                  <a:gd name="T13" fmla="*/ 34 h 39"/>
                  <a:gd name="T14" fmla="*/ 17 w 34"/>
                  <a:gd name="T15" fmla="*/ 16 h 39"/>
                  <a:gd name="T16" fmla="*/ 10 w 34"/>
                  <a:gd name="T17" fmla="*/ 21 h 39"/>
                  <a:gd name="T18" fmla="*/ 10 w 34"/>
                  <a:gd name="T19" fmla="*/ 32 h 39"/>
                  <a:gd name="T20" fmla="*/ 4 w 34"/>
                  <a:gd name="T21" fmla="*/ 38 h 39"/>
                  <a:gd name="T22" fmla="*/ 2 w 34"/>
                  <a:gd name="T23" fmla="*/ 29 h 39"/>
                  <a:gd name="T24" fmla="*/ 4 w 34"/>
                  <a:gd name="T25" fmla="*/ 27 h 39"/>
                  <a:gd name="T26" fmla="*/ 2 w 34"/>
                  <a:gd name="T27" fmla="*/ 25 h 39"/>
                  <a:gd name="T28" fmla="*/ 4 w 34"/>
                  <a:gd name="T29" fmla="*/ 17 h 39"/>
                  <a:gd name="T30" fmla="*/ 0 w 34"/>
                  <a:gd name="T31" fmla="*/ 14 h 39"/>
                  <a:gd name="T32" fmla="*/ 15 w 34"/>
                  <a:gd name="T33" fmla="*/ 1 h 39"/>
                  <a:gd name="T34" fmla="*/ 30 w 34"/>
                  <a:gd name="T35" fmla="*/ 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9">
                    <a:moveTo>
                      <a:pt x="30" y="1"/>
                    </a:moveTo>
                    <a:cubicBezTo>
                      <a:pt x="34" y="9"/>
                      <a:pt x="21" y="5"/>
                      <a:pt x="24" y="8"/>
                    </a:cubicBezTo>
                    <a:cubicBezTo>
                      <a:pt x="27" y="11"/>
                      <a:pt x="25" y="9"/>
                      <a:pt x="23" y="8"/>
                    </a:cubicBezTo>
                    <a:cubicBezTo>
                      <a:pt x="23" y="11"/>
                      <a:pt x="23" y="12"/>
                      <a:pt x="24" y="14"/>
                    </a:cubicBezTo>
                    <a:cubicBezTo>
                      <a:pt x="25" y="15"/>
                      <a:pt x="28" y="17"/>
                      <a:pt x="28" y="17"/>
                    </a:cubicBezTo>
                    <a:cubicBezTo>
                      <a:pt x="30" y="22"/>
                      <a:pt x="28" y="28"/>
                      <a:pt x="30" y="34"/>
                    </a:cubicBezTo>
                    <a:cubicBezTo>
                      <a:pt x="28" y="34"/>
                      <a:pt x="25" y="34"/>
                      <a:pt x="23" y="34"/>
                    </a:cubicBezTo>
                    <a:cubicBezTo>
                      <a:pt x="20" y="28"/>
                      <a:pt x="17" y="23"/>
                      <a:pt x="17" y="16"/>
                    </a:cubicBezTo>
                    <a:cubicBezTo>
                      <a:pt x="13" y="16"/>
                      <a:pt x="16" y="23"/>
                      <a:pt x="10" y="21"/>
                    </a:cubicBezTo>
                    <a:cubicBezTo>
                      <a:pt x="10" y="25"/>
                      <a:pt x="10" y="29"/>
                      <a:pt x="10" y="32"/>
                    </a:cubicBezTo>
                    <a:cubicBezTo>
                      <a:pt x="10" y="37"/>
                      <a:pt x="4" y="34"/>
                      <a:pt x="4" y="38"/>
                    </a:cubicBezTo>
                    <a:cubicBezTo>
                      <a:pt x="1" y="39"/>
                      <a:pt x="1" y="32"/>
                      <a:pt x="2" y="29"/>
                    </a:cubicBezTo>
                    <a:cubicBezTo>
                      <a:pt x="2" y="28"/>
                      <a:pt x="4" y="27"/>
                      <a:pt x="4" y="27"/>
                    </a:cubicBezTo>
                    <a:cubicBezTo>
                      <a:pt x="4" y="25"/>
                      <a:pt x="2" y="26"/>
                      <a:pt x="2" y="25"/>
                    </a:cubicBezTo>
                    <a:cubicBezTo>
                      <a:pt x="2" y="24"/>
                      <a:pt x="5" y="20"/>
                      <a:pt x="4" y="17"/>
                    </a:cubicBezTo>
                    <a:cubicBezTo>
                      <a:pt x="5" y="14"/>
                      <a:pt x="2" y="14"/>
                      <a:pt x="0" y="14"/>
                    </a:cubicBezTo>
                    <a:cubicBezTo>
                      <a:pt x="2" y="7"/>
                      <a:pt x="5" y="0"/>
                      <a:pt x="15" y="1"/>
                    </a:cubicBezTo>
                    <a:cubicBezTo>
                      <a:pt x="9" y="7"/>
                      <a:pt x="26" y="1"/>
                      <a:pt x="30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71079233-AEA7-4997-BB26-85CE4B5F2B89}"/>
                  </a:ext>
                </a:extLst>
              </p:cNvPr>
              <p:cNvSpPr/>
              <p:nvPr/>
            </p:nvSpPr>
            <p:spPr bwMode="auto">
              <a:xfrm>
                <a:off x="7328508" y="2304541"/>
                <a:ext cx="163892" cy="47627"/>
              </a:xfrm>
              <a:custGeom>
                <a:avLst/>
                <a:gdLst>
                  <a:gd name="T0" fmla="*/ 2 w 79"/>
                  <a:gd name="T1" fmla="*/ 7 h 23"/>
                  <a:gd name="T2" fmla="*/ 9 w 79"/>
                  <a:gd name="T3" fmla="*/ 2 h 23"/>
                  <a:gd name="T4" fmla="*/ 13 w 79"/>
                  <a:gd name="T5" fmla="*/ 6 h 23"/>
                  <a:gd name="T6" fmla="*/ 16 w 79"/>
                  <a:gd name="T7" fmla="*/ 7 h 23"/>
                  <a:gd name="T8" fmla="*/ 35 w 79"/>
                  <a:gd name="T9" fmla="*/ 11 h 23"/>
                  <a:gd name="T10" fmla="*/ 54 w 79"/>
                  <a:gd name="T11" fmla="*/ 9 h 23"/>
                  <a:gd name="T12" fmla="*/ 57 w 79"/>
                  <a:gd name="T13" fmla="*/ 13 h 23"/>
                  <a:gd name="T14" fmla="*/ 63 w 79"/>
                  <a:gd name="T15" fmla="*/ 15 h 23"/>
                  <a:gd name="T16" fmla="*/ 72 w 79"/>
                  <a:gd name="T17" fmla="*/ 15 h 23"/>
                  <a:gd name="T18" fmla="*/ 74 w 79"/>
                  <a:gd name="T19" fmla="*/ 20 h 23"/>
                  <a:gd name="T20" fmla="*/ 71 w 79"/>
                  <a:gd name="T21" fmla="*/ 20 h 23"/>
                  <a:gd name="T22" fmla="*/ 33 w 79"/>
                  <a:gd name="T23" fmla="*/ 15 h 23"/>
                  <a:gd name="T24" fmla="*/ 24 w 79"/>
                  <a:gd name="T25" fmla="*/ 15 h 23"/>
                  <a:gd name="T26" fmla="*/ 11 w 79"/>
                  <a:gd name="T27" fmla="*/ 11 h 23"/>
                  <a:gd name="T28" fmla="*/ 2 w 79"/>
                  <a:gd name="T2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23">
                    <a:moveTo>
                      <a:pt x="2" y="7"/>
                    </a:moveTo>
                    <a:cubicBezTo>
                      <a:pt x="0" y="1"/>
                      <a:pt x="8" y="5"/>
                      <a:pt x="9" y="2"/>
                    </a:cubicBezTo>
                    <a:cubicBezTo>
                      <a:pt x="13" y="0"/>
                      <a:pt x="11" y="4"/>
                      <a:pt x="13" y="6"/>
                    </a:cubicBezTo>
                    <a:cubicBezTo>
                      <a:pt x="14" y="6"/>
                      <a:pt x="17" y="5"/>
                      <a:pt x="16" y="7"/>
                    </a:cubicBezTo>
                    <a:cubicBezTo>
                      <a:pt x="25" y="5"/>
                      <a:pt x="28" y="6"/>
                      <a:pt x="35" y="11"/>
                    </a:cubicBezTo>
                    <a:cubicBezTo>
                      <a:pt x="42" y="7"/>
                      <a:pt x="44" y="9"/>
                      <a:pt x="54" y="9"/>
                    </a:cubicBezTo>
                    <a:cubicBezTo>
                      <a:pt x="57" y="9"/>
                      <a:pt x="57" y="11"/>
                      <a:pt x="57" y="13"/>
                    </a:cubicBezTo>
                    <a:cubicBezTo>
                      <a:pt x="60" y="13"/>
                      <a:pt x="63" y="13"/>
                      <a:pt x="63" y="15"/>
                    </a:cubicBezTo>
                    <a:cubicBezTo>
                      <a:pt x="68" y="12"/>
                      <a:pt x="72" y="19"/>
                      <a:pt x="72" y="15"/>
                    </a:cubicBezTo>
                    <a:cubicBezTo>
                      <a:pt x="79" y="15"/>
                      <a:pt x="68" y="21"/>
                      <a:pt x="74" y="20"/>
                    </a:cubicBezTo>
                    <a:cubicBezTo>
                      <a:pt x="73" y="23"/>
                      <a:pt x="73" y="20"/>
                      <a:pt x="71" y="20"/>
                    </a:cubicBezTo>
                    <a:cubicBezTo>
                      <a:pt x="56" y="23"/>
                      <a:pt x="45" y="17"/>
                      <a:pt x="33" y="15"/>
                    </a:cubicBezTo>
                    <a:cubicBezTo>
                      <a:pt x="30" y="14"/>
                      <a:pt x="27" y="15"/>
                      <a:pt x="24" y="15"/>
                    </a:cubicBezTo>
                    <a:cubicBezTo>
                      <a:pt x="19" y="14"/>
                      <a:pt x="15" y="12"/>
                      <a:pt x="11" y="11"/>
                    </a:cubicBezTo>
                    <a:cubicBezTo>
                      <a:pt x="7" y="10"/>
                      <a:pt x="2" y="1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E3B0F34-08E2-4F3B-B4A1-435C3DDF59B3}"/>
                  </a:ext>
                </a:extLst>
              </p:cNvPr>
              <p:cNvSpPr/>
              <p:nvPr/>
            </p:nvSpPr>
            <p:spPr bwMode="auto">
              <a:xfrm>
                <a:off x="7547030" y="2360572"/>
                <a:ext cx="25214" cy="9806"/>
              </a:xfrm>
              <a:custGeom>
                <a:avLst/>
                <a:gdLst>
                  <a:gd name="T0" fmla="*/ 5 w 12"/>
                  <a:gd name="T1" fmla="*/ 3 h 5"/>
                  <a:gd name="T2" fmla="*/ 12 w 12"/>
                  <a:gd name="T3" fmla="*/ 5 h 5"/>
                  <a:gd name="T4" fmla="*/ 5 w 12"/>
                  <a:gd name="T5" fmla="*/ 5 h 5"/>
                  <a:gd name="T6" fmla="*/ 3 w 12"/>
                  <a:gd name="T7" fmla="*/ 3 h 5"/>
                  <a:gd name="T8" fmla="*/ 5 w 12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5" y="3"/>
                    </a:moveTo>
                    <a:cubicBezTo>
                      <a:pt x="8" y="3"/>
                      <a:pt x="12" y="2"/>
                      <a:pt x="12" y="5"/>
                    </a:cubicBezTo>
                    <a:cubicBezTo>
                      <a:pt x="10" y="5"/>
                      <a:pt x="7" y="5"/>
                      <a:pt x="5" y="5"/>
                    </a:cubicBezTo>
                    <a:cubicBezTo>
                      <a:pt x="5" y="3"/>
                      <a:pt x="3" y="3"/>
                      <a:pt x="3" y="3"/>
                    </a:cubicBezTo>
                    <a:cubicBezTo>
                      <a:pt x="0" y="0"/>
                      <a:pt x="4" y="1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046EC08-B9F6-4EB4-8588-0C5AE39CB2BF}"/>
                  </a:ext>
                </a:extLst>
              </p:cNvPr>
              <p:cNvSpPr/>
              <p:nvPr/>
            </p:nvSpPr>
            <p:spPr bwMode="auto">
              <a:xfrm>
                <a:off x="8288045" y="2892868"/>
                <a:ext cx="120467" cy="121868"/>
              </a:xfrm>
              <a:custGeom>
                <a:avLst/>
                <a:gdLst>
                  <a:gd name="T0" fmla="*/ 1 w 58"/>
                  <a:gd name="T1" fmla="*/ 51 h 59"/>
                  <a:gd name="T2" fmla="*/ 5 w 58"/>
                  <a:gd name="T3" fmla="*/ 43 h 59"/>
                  <a:gd name="T4" fmla="*/ 8 w 58"/>
                  <a:gd name="T5" fmla="*/ 41 h 59"/>
                  <a:gd name="T6" fmla="*/ 8 w 58"/>
                  <a:gd name="T7" fmla="*/ 38 h 59"/>
                  <a:gd name="T8" fmla="*/ 12 w 58"/>
                  <a:gd name="T9" fmla="*/ 38 h 59"/>
                  <a:gd name="T10" fmla="*/ 14 w 58"/>
                  <a:gd name="T11" fmla="*/ 34 h 59"/>
                  <a:gd name="T12" fmla="*/ 21 w 58"/>
                  <a:gd name="T13" fmla="*/ 32 h 59"/>
                  <a:gd name="T14" fmla="*/ 25 w 58"/>
                  <a:gd name="T15" fmla="*/ 28 h 59"/>
                  <a:gd name="T16" fmla="*/ 29 w 58"/>
                  <a:gd name="T17" fmla="*/ 23 h 59"/>
                  <a:gd name="T18" fmla="*/ 33 w 58"/>
                  <a:gd name="T19" fmla="*/ 19 h 59"/>
                  <a:gd name="T20" fmla="*/ 38 w 58"/>
                  <a:gd name="T21" fmla="*/ 21 h 59"/>
                  <a:gd name="T22" fmla="*/ 36 w 58"/>
                  <a:gd name="T23" fmla="*/ 13 h 59"/>
                  <a:gd name="T24" fmla="*/ 44 w 58"/>
                  <a:gd name="T25" fmla="*/ 4 h 59"/>
                  <a:gd name="T26" fmla="*/ 49 w 58"/>
                  <a:gd name="T27" fmla="*/ 0 h 59"/>
                  <a:gd name="T28" fmla="*/ 55 w 58"/>
                  <a:gd name="T29" fmla="*/ 4 h 59"/>
                  <a:gd name="T30" fmla="*/ 57 w 58"/>
                  <a:gd name="T31" fmla="*/ 13 h 59"/>
                  <a:gd name="T32" fmla="*/ 55 w 58"/>
                  <a:gd name="T33" fmla="*/ 19 h 59"/>
                  <a:gd name="T34" fmla="*/ 51 w 58"/>
                  <a:gd name="T35" fmla="*/ 19 h 59"/>
                  <a:gd name="T36" fmla="*/ 49 w 58"/>
                  <a:gd name="T37" fmla="*/ 28 h 59"/>
                  <a:gd name="T38" fmla="*/ 42 w 58"/>
                  <a:gd name="T39" fmla="*/ 30 h 59"/>
                  <a:gd name="T40" fmla="*/ 36 w 58"/>
                  <a:gd name="T41" fmla="*/ 43 h 59"/>
                  <a:gd name="T42" fmla="*/ 33 w 58"/>
                  <a:gd name="T43" fmla="*/ 51 h 59"/>
                  <a:gd name="T44" fmla="*/ 29 w 58"/>
                  <a:gd name="T45" fmla="*/ 54 h 59"/>
                  <a:gd name="T46" fmla="*/ 14 w 58"/>
                  <a:gd name="T47" fmla="*/ 49 h 59"/>
                  <a:gd name="T48" fmla="*/ 7 w 58"/>
                  <a:gd name="T49" fmla="*/ 51 h 59"/>
                  <a:gd name="T50" fmla="*/ 5 w 58"/>
                  <a:gd name="T51" fmla="*/ 47 h 59"/>
                  <a:gd name="T52" fmla="*/ 1 w 58"/>
                  <a:gd name="T53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8" h="59">
                    <a:moveTo>
                      <a:pt x="1" y="51"/>
                    </a:moveTo>
                    <a:cubicBezTo>
                      <a:pt x="0" y="48"/>
                      <a:pt x="3" y="45"/>
                      <a:pt x="5" y="43"/>
                    </a:cubicBezTo>
                    <a:cubicBezTo>
                      <a:pt x="5" y="43"/>
                      <a:pt x="8" y="42"/>
                      <a:pt x="8" y="41"/>
                    </a:cubicBezTo>
                    <a:cubicBezTo>
                      <a:pt x="9" y="41"/>
                      <a:pt x="8" y="38"/>
                      <a:pt x="8" y="38"/>
                    </a:cubicBezTo>
                    <a:cubicBezTo>
                      <a:pt x="9" y="37"/>
                      <a:pt x="12" y="38"/>
                      <a:pt x="12" y="38"/>
                    </a:cubicBezTo>
                    <a:cubicBezTo>
                      <a:pt x="13" y="37"/>
                      <a:pt x="13" y="34"/>
                      <a:pt x="14" y="34"/>
                    </a:cubicBezTo>
                    <a:cubicBezTo>
                      <a:pt x="16" y="33"/>
                      <a:pt x="20" y="34"/>
                      <a:pt x="21" y="32"/>
                    </a:cubicBezTo>
                    <a:cubicBezTo>
                      <a:pt x="23" y="29"/>
                      <a:pt x="21" y="29"/>
                      <a:pt x="25" y="28"/>
                    </a:cubicBezTo>
                    <a:cubicBezTo>
                      <a:pt x="29" y="28"/>
                      <a:pt x="27" y="25"/>
                      <a:pt x="29" y="23"/>
                    </a:cubicBezTo>
                    <a:cubicBezTo>
                      <a:pt x="29" y="22"/>
                      <a:pt x="35" y="27"/>
                      <a:pt x="33" y="19"/>
                    </a:cubicBezTo>
                    <a:cubicBezTo>
                      <a:pt x="36" y="18"/>
                      <a:pt x="36" y="21"/>
                      <a:pt x="38" y="21"/>
                    </a:cubicBezTo>
                    <a:cubicBezTo>
                      <a:pt x="38" y="17"/>
                      <a:pt x="36" y="17"/>
                      <a:pt x="36" y="13"/>
                    </a:cubicBezTo>
                    <a:cubicBezTo>
                      <a:pt x="43" y="15"/>
                      <a:pt x="42" y="7"/>
                      <a:pt x="44" y="4"/>
                    </a:cubicBezTo>
                    <a:cubicBezTo>
                      <a:pt x="45" y="2"/>
                      <a:pt x="50" y="4"/>
                      <a:pt x="49" y="0"/>
                    </a:cubicBezTo>
                    <a:cubicBezTo>
                      <a:pt x="51" y="1"/>
                      <a:pt x="51" y="5"/>
                      <a:pt x="55" y="4"/>
                    </a:cubicBezTo>
                    <a:cubicBezTo>
                      <a:pt x="53" y="9"/>
                      <a:pt x="58" y="9"/>
                      <a:pt x="57" y="13"/>
                    </a:cubicBezTo>
                    <a:cubicBezTo>
                      <a:pt x="54" y="13"/>
                      <a:pt x="56" y="17"/>
                      <a:pt x="55" y="19"/>
                    </a:cubicBezTo>
                    <a:cubicBezTo>
                      <a:pt x="55" y="19"/>
                      <a:pt x="52" y="18"/>
                      <a:pt x="51" y="19"/>
                    </a:cubicBezTo>
                    <a:cubicBezTo>
                      <a:pt x="50" y="20"/>
                      <a:pt x="50" y="24"/>
                      <a:pt x="49" y="28"/>
                    </a:cubicBezTo>
                    <a:cubicBezTo>
                      <a:pt x="46" y="31"/>
                      <a:pt x="46" y="27"/>
                      <a:pt x="42" y="30"/>
                    </a:cubicBezTo>
                    <a:cubicBezTo>
                      <a:pt x="37" y="33"/>
                      <a:pt x="38" y="39"/>
                      <a:pt x="36" y="43"/>
                    </a:cubicBezTo>
                    <a:cubicBezTo>
                      <a:pt x="36" y="44"/>
                      <a:pt x="31" y="45"/>
                      <a:pt x="33" y="51"/>
                    </a:cubicBezTo>
                    <a:cubicBezTo>
                      <a:pt x="29" y="50"/>
                      <a:pt x="29" y="52"/>
                      <a:pt x="29" y="54"/>
                    </a:cubicBezTo>
                    <a:cubicBezTo>
                      <a:pt x="24" y="49"/>
                      <a:pt x="15" y="59"/>
                      <a:pt x="14" y="49"/>
                    </a:cubicBezTo>
                    <a:cubicBezTo>
                      <a:pt x="13" y="49"/>
                      <a:pt x="9" y="52"/>
                      <a:pt x="7" y="51"/>
                    </a:cubicBezTo>
                    <a:cubicBezTo>
                      <a:pt x="6" y="51"/>
                      <a:pt x="4" y="47"/>
                      <a:pt x="5" y="47"/>
                    </a:cubicBezTo>
                    <a:cubicBezTo>
                      <a:pt x="1" y="47"/>
                      <a:pt x="9" y="54"/>
                      <a:pt x="1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8D8F697D-C278-4A3D-BA74-99B67A8141B2}"/>
                  </a:ext>
                </a:extLst>
              </p:cNvPr>
              <p:cNvSpPr/>
              <p:nvPr/>
            </p:nvSpPr>
            <p:spPr bwMode="auto">
              <a:xfrm>
                <a:off x="4137528" y="505936"/>
                <a:ext cx="169495" cy="126070"/>
              </a:xfrm>
              <a:custGeom>
                <a:avLst/>
                <a:gdLst>
                  <a:gd name="T0" fmla="*/ 22 w 82"/>
                  <a:gd name="T1" fmla="*/ 0 h 61"/>
                  <a:gd name="T2" fmla="*/ 31 w 82"/>
                  <a:gd name="T3" fmla="*/ 8 h 61"/>
                  <a:gd name="T4" fmla="*/ 37 w 82"/>
                  <a:gd name="T5" fmla="*/ 9 h 61"/>
                  <a:gd name="T6" fmla="*/ 41 w 82"/>
                  <a:gd name="T7" fmla="*/ 9 h 61"/>
                  <a:gd name="T8" fmla="*/ 43 w 82"/>
                  <a:gd name="T9" fmla="*/ 11 h 61"/>
                  <a:gd name="T10" fmla="*/ 48 w 82"/>
                  <a:gd name="T11" fmla="*/ 15 h 61"/>
                  <a:gd name="T12" fmla="*/ 54 w 82"/>
                  <a:gd name="T13" fmla="*/ 15 h 61"/>
                  <a:gd name="T14" fmla="*/ 65 w 82"/>
                  <a:gd name="T15" fmla="*/ 19 h 61"/>
                  <a:gd name="T16" fmla="*/ 65 w 82"/>
                  <a:gd name="T17" fmla="*/ 24 h 61"/>
                  <a:gd name="T18" fmla="*/ 71 w 82"/>
                  <a:gd name="T19" fmla="*/ 24 h 61"/>
                  <a:gd name="T20" fmla="*/ 71 w 82"/>
                  <a:gd name="T21" fmla="*/ 28 h 61"/>
                  <a:gd name="T22" fmla="*/ 82 w 82"/>
                  <a:gd name="T23" fmla="*/ 36 h 61"/>
                  <a:gd name="T24" fmla="*/ 80 w 82"/>
                  <a:gd name="T25" fmla="*/ 41 h 61"/>
                  <a:gd name="T26" fmla="*/ 76 w 82"/>
                  <a:gd name="T27" fmla="*/ 39 h 61"/>
                  <a:gd name="T28" fmla="*/ 67 w 82"/>
                  <a:gd name="T29" fmla="*/ 45 h 61"/>
                  <a:gd name="T30" fmla="*/ 65 w 82"/>
                  <a:gd name="T31" fmla="*/ 49 h 61"/>
                  <a:gd name="T32" fmla="*/ 61 w 82"/>
                  <a:gd name="T33" fmla="*/ 52 h 61"/>
                  <a:gd name="T34" fmla="*/ 50 w 82"/>
                  <a:gd name="T35" fmla="*/ 52 h 61"/>
                  <a:gd name="T36" fmla="*/ 50 w 82"/>
                  <a:gd name="T37" fmla="*/ 54 h 61"/>
                  <a:gd name="T38" fmla="*/ 43 w 82"/>
                  <a:gd name="T39" fmla="*/ 56 h 61"/>
                  <a:gd name="T40" fmla="*/ 41 w 82"/>
                  <a:gd name="T41" fmla="*/ 52 h 61"/>
                  <a:gd name="T42" fmla="*/ 30 w 82"/>
                  <a:gd name="T43" fmla="*/ 52 h 61"/>
                  <a:gd name="T44" fmla="*/ 26 w 82"/>
                  <a:gd name="T45" fmla="*/ 49 h 61"/>
                  <a:gd name="T46" fmla="*/ 31 w 82"/>
                  <a:gd name="T47" fmla="*/ 45 h 61"/>
                  <a:gd name="T48" fmla="*/ 22 w 82"/>
                  <a:gd name="T49" fmla="*/ 43 h 61"/>
                  <a:gd name="T50" fmla="*/ 28 w 82"/>
                  <a:gd name="T51" fmla="*/ 39 h 61"/>
                  <a:gd name="T52" fmla="*/ 31 w 82"/>
                  <a:gd name="T53" fmla="*/ 36 h 61"/>
                  <a:gd name="T54" fmla="*/ 37 w 82"/>
                  <a:gd name="T55" fmla="*/ 37 h 61"/>
                  <a:gd name="T56" fmla="*/ 35 w 82"/>
                  <a:gd name="T57" fmla="*/ 32 h 61"/>
                  <a:gd name="T58" fmla="*/ 18 w 82"/>
                  <a:gd name="T59" fmla="*/ 36 h 61"/>
                  <a:gd name="T60" fmla="*/ 13 w 82"/>
                  <a:gd name="T61" fmla="*/ 34 h 61"/>
                  <a:gd name="T62" fmla="*/ 9 w 82"/>
                  <a:gd name="T63" fmla="*/ 30 h 61"/>
                  <a:gd name="T64" fmla="*/ 2 w 82"/>
                  <a:gd name="T65" fmla="*/ 26 h 61"/>
                  <a:gd name="T66" fmla="*/ 0 w 82"/>
                  <a:gd name="T67" fmla="*/ 21 h 61"/>
                  <a:gd name="T68" fmla="*/ 5 w 82"/>
                  <a:gd name="T69" fmla="*/ 17 h 61"/>
                  <a:gd name="T70" fmla="*/ 9 w 82"/>
                  <a:gd name="T71" fmla="*/ 13 h 61"/>
                  <a:gd name="T72" fmla="*/ 11 w 82"/>
                  <a:gd name="T73" fmla="*/ 8 h 61"/>
                  <a:gd name="T74" fmla="*/ 15 w 82"/>
                  <a:gd name="T75" fmla="*/ 8 h 61"/>
                  <a:gd name="T76" fmla="*/ 18 w 82"/>
                  <a:gd name="T77" fmla="*/ 4 h 61"/>
                  <a:gd name="T78" fmla="*/ 22 w 82"/>
                  <a:gd name="T7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2" h="61">
                    <a:moveTo>
                      <a:pt x="22" y="0"/>
                    </a:moveTo>
                    <a:cubicBezTo>
                      <a:pt x="25" y="3"/>
                      <a:pt x="30" y="3"/>
                      <a:pt x="31" y="8"/>
                    </a:cubicBezTo>
                    <a:cubicBezTo>
                      <a:pt x="35" y="6"/>
                      <a:pt x="36" y="9"/>
                      <a:pt x="37" y="9"/>
                    </a:cubicBezTo>
                    <a:cubicBezTo>
                      <a:pt x="38" y="10"/>
                      <a:pt x="40" y="9"/>
                      <a:pt x="41" y="9"/>
                    </a:cubicBezTo>
                    <a:cubicBezTo>
                      <a:pt x="41" y="10"/>
                      <a:pt x="41" y="13"/>
                      <a:pt x="43" y="11"/>
                    </a:cubicBezTo>
                    <a:cubicBezTo>
                      <a:pt x="46" y="8"/>
                      <a:pt x="45" y="13"/>
                      <a:pt x="48" y="15"/>
                    </a:cubicBezTo>
                    <a:cubicBezTo>
                      <a:pt x="49" y="16"/>
                      <a:pt x="52" y="14"/>
                      <a:pt x="54" y="15"/>
                    </a:cubicBezTo>
                    <a:cubicBezTo>
                      <a:pt x="55" y="16"/>
                      <a:pt x="58" y="21"/>
                      <a:pt x="65" y="19"/>
                    </a:cubicBezTo>
                    <a:cubicBezTo>
                      <a:pt x="65" y="21"/>
                      <a:pt x="65" y="22"/>
                      <a:pt x="65" y="24"/>
                    </a:cubicBezTo>
                    <a:cubicBezTo>
                      <a:pt x="66" y="25"/>
                      <a:pt x="69" y="23"/>
                      <a:pt x="71" y="24"/>
                    </a:cubicBezTo>
                    <a:cubicBezTo>
                      <a:pt x="71" y="25"/>
                      <a:pt x="70" y="28"/>
                      <a:pt x="71" y="28"/>
                    </a:cubicBezTo>
                    <a:cubicBezTo>
                      <a:pt x="73" y="30"/>
                      <a:pt x="78" y="32"/>
                      <a:pt x="82" y="36"/>
                    </a:cubicBezTo>
                    <a:cubicBezTo>
                      <a:pt x="82" y="37"/>
                      <a:pt x="81" y="41"/>
                      <a:pt x="80" y="41"/>
                    </a:cubicBezTo>
                    <a:cubicBezTo>
                      <a:pt x="78" y="42"/>
                      <a:pt x="76" y="39"/>
                      <a:pt x="76" y="39"/>
                    </a:cubicBezTo>
                    <a:cubicBezTo>
                      <a:pt x="73" y="41"/>
                      <a:pt x="71" y="44"/>
                      <a:pt x="67" y="45"/>
                    </a:cubicBezTo>
                    <a:cubicBezTo>
                      <a:pt x="65" y="45"/>
                      <a:pt x="65" y="47"/>
                      <a:pt x="65" y="49"/>
                    </a:cubicBezTo>
                    <a:cubicBezTo>
                      <a:pt x="62" y="48"/>
                      <a:pt x="61" y="50"/>
                      <a:pt x="61" y="52"/>
                    </a:cubicBezTo>
                    <a:cubicBezTo>
                      <a:pt x="55" y="53"/>
                      <a:pt x="54" y="48"/>
                      <a:pt x="50" y="52"/>
                    </a:cubicBezTo>
                    <a:cubicBezTo>
                      <a:pt x="48" y="53"/>
                      <a:pt x="49" y="54"/>
                      <a:pt x="50" y="54"/>
                    </a:cubicBezTo>
                    <a:cubicBezTo>
                      <a:pt x="49" y="61"/>
                      <a:pt x="43" y="49"/>
                      <a:pt x="43" y="56"/>
                    </a:cubicBezTo>
                    <a:cubicBezTo>
                      <a:pt x="41" y="56"/>
                      <a:pt x="41" y="54"/>
                      <a:pt x="41" y="52"/>
                    </a:cubicBezTo>
                    <a:cubicBezTo>
                      <a:pt x="37" y="56"/>
                      <a:pt x="35" y="51"/>
                      <a:pt x="30" y="52"/>
                    </a:cubicBezTo>
                    <a:cubicBezTo>
                      <a:pt x="30" y="49"/>
                      <a:pt x="28" y="49"/>
                      <a:pt x="26" y="49"/>
                    </a:cubicBezTo>
                    <a:cubicBezTo>
                      <a:pt x="26" y="46"/>
                      <a:pt x="31" y="48"/>
                      <a:pt x="31" y="45"/>
                    </a:cubicBezTo>
                    <a:cubicBezTo>
                      <a:pt x="32" y="41"/>
                      <a:pt x="25" y="44"/>
                      <a:pt x="22" y="43"/>
                    </a:cubicBezTo>
                    <a:cubicBezTo>
                      <a:pt x="21" y="38"/>
                      <a:pt x="25" y="40"/>
                      <a:pt x="28" y="39"/>
                    </a:cubicBezTo>
                    <a:cubicBezTo>
                      <a:pt x="28" y="39"/>
                      <a:pt x="31" y="36"/>
                      <a:pt x="31" y="36"/>
                    </a:cubicBezTo>
                    <a:cubicBezTo>
                      <a:pt x="33" y="35"/>
                      <a:pt x="34" y="38"/>
                      <a:pt x="37" y="37"/>
                    </a:cubicBezTo>
                    <a:cubicBezTo>
                      <a:pt x="37" y="34"/>
                      <a:pt x="35" y="34"/>
                      <a:pt x="35" y="32"/>
                    </a:cubicBezTo>
                    <a:cubicBezTo>
                      <a:pt x="33" y="33"/>
                      <a:pt x="22" y="32"/>
                      <a:pt x="18" y="36"/>
                    </a:cubicBezTo>
                    <a:cubicBezTo>
                      <a:pt x="15" y="39"/>
                      <a:pt x="18" y="35"/>
                      <a:pt x="13" y="34"/>
                    </a:cubicBezTo>
                    <a:cubicBezTo>
                      <a:pt x="7" y="32"/>
                      <a:pt x="3" y="35"/>
                      <a:pt x="9" y="30"/>
                    </a:cubicBezTo>
                    <a:cubicBezTo>
                      <a:pt x="9" y="26"/>
                      <a:pt x="3" y="29"/>
                      <a:pt x="2" y="26"/>
                    </a:cubicBezTo>
                    <a:cubicBezTo>
                      <a:pt x="4" y="22"/>
                      <a:pt x="8" y="17"/>
                      <a:pt x="0" y="21"/>
                    </a:cubicBezTo>
                    <a:cubicBezTo>
                      <a:pt x="0" y="18"/>
                      <a:pt x="2" y="17"/>
                      <a:pt x="5" y="17"/>
                    </a:cubicBezTo>
                    <a:cubicBezTo>
                      <a:pt x="7" y="16"/>
                      <a:pt x="7" y="13"/>
                      <a:pt x="9" y="13"/>
                    </a:cubicBezTo>
                    <a:cubicBezTo>
                      <a:pt x="12" y="13"/>
                      <a:pt x="9" y="9"/>
                      <a:pt x="11" y="8"/>
                    </a:cubicBezTo>
                    <a:cubicBezTo>
                      <a:pt x="11" y="7"/>
                      <a:pt x="14" y="8"/>
                      <a:pt x="15" y="8"/>
                    </a:cubicBezTo>
                    <a:cubicBezTo>
                      <a:pt x="17" y="7"/>
                      <a:pt x="16" y="4"/>
                      <a:pt x="18" y="4"/>
                    </a:cubicBezTo>
                    <a:cubicBezTo>
                      <a:pt x="19" y="2"/>
                      <a:pt x="22" y="3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C253050A-3E81-4BEC-BB28-F5BAE6658627}"/>
                  </a:ext>
                </a:extLst>
              </p:cNvPr>
              <p:cNvSpPr/>
              <p:nvPr/>
            </p:nvSpPr>
            <p:spPr bwMode="auto">
              <a:xfrm>
                <a:off x="5831073" y="552163"/>
                <a:ext cx="225526" cy="113464"/>
              </a:xfrm>
              <a:custGeom>
                <a:avLst/>
                <a:gdLst>
                  <a:gd name="T0" fmla="*/ 37 w 109"/>
                  <a:gd name="T1" fmla="*/ 38 h 55"/>
                  <a:gd name="T2" fmla="*/ 34 w 109"/>
                  <a:gd name="T3" fmla="*/ 40 h 55"/>
                  <a:gd name="T4" fmla="*/ 24 w 109"/>
                  <a:gd name="T5" fmla="*/ 38 h 55"/>
                  <a:gd name="T6" fmla="*/ 30 w 109"/>
                  <a:gd name="T7" fmla="*/ 34 h 55"/>
                  <a:gd name="T8" fmla="*/ 41 w 109"/>
                  <a:gd name="T9" fmla="*/ 27 h 55"/>
                  <a:gd name="T10" fmla="*/ 37 w 109"/>
                  <a:gd name="T11" fmla="*/ 21 h 55"/>
                  <a:gd name="T12" fmla="*/ 28 w 109"/>
                  <a:gd name="T13" fmla="*/ 21 h 55"/>
                  <a:gd name="T14" fmla="*/ 19 w 109"/>
                  <a:gd name="T15" fmla="*/ 28 h 55"/>
                  <a:gd name="T16" fmla="*/ 6 w 109"/>
                  <a:gd name="T17" fmla="*/ 27 h 55"/>
                  <a:gd name="T18" fmla="*/ 8 w 109"/>
                  <a:gd name="T19" fmla="*/ 14 h 55"/>
                  <a:gd name="T20" fmla="*/ 4 w 109"/>
                  <a:gd name="T21" fmla="*/ 15 h 55"/>
                  <a:gd name="T22" fmla="*/ 2 w 109"/>
                  <a:gd name="T23" fmla="*/ 6 h 55"/>
                  <a:gd name="T24" fmla="*/ 6 w 109"/>
                  <a:gd name="T25" fmla="*/ 8 h 55"/>
                  <a:gd name="T26" fmla="*/ 17 w 109"/>
                  <a:gd name="T27" fmla="*/ 4 h 55"/>
                  <a:gd name="T28" fmla="*/ 19 w 109"/>
                  <a:gd name="T29" fmla="*/ 10 h 55"/>
                  <a:gd name="T30" fmla="*/ 34 w 109"/>
                  <a:gd name="T31" fmla="*/ 12 h 55"/>
                  <a:gd name="T32" fmla="*/ 39 w 109"/>
                  <a:gd name="T33" fmla="*/ 4 h 55"/>
                  <a:gd name="T34" fmla="*/ 58 w 109"/>
                  <a:gd name="T35" fmla="*/ 6 h 55"/>
                  <a:gd name="T36" fmla="*/ 60 w 109"/>
                  <a:gd name="T37" fmla="*/ 6 h 55"/>
                  <a:gd name="T38" fmla="*/ 67 w 109"/>
                  <a:gd name="T39" fmla="*/ 12 h 55"/>
                  <a:gd name="T40" fmla="*/ 65 w 109"/>
                  <a:gd name="T41" fmla="*/ 15 h 55"/>
                  <a:gd name="T42" fmla="*/ 75 w 109"/>
                  <a:gd name="T43" fmla="*/ 14 h 55"/>
                  <a:gd name="T44" fmla="*/ 86 w 109"/>
                  <a:gd name="T45" fmla="*/ 17 h 55"/>
                  <a:gd name="T46" fmla="*/ 88 w 109"/>
                  <a:gd name="T47" fmla="*/ 21 h 55"/>
                  <a:gd name="T48" fmla="*/ 90 w 109"/>
                  <a:gd name="T49" fmla="*/ 23 h 55"/>
                  <a:gd name="T50" fmla="*/ 92 w 109"/>
                  <a:gd name="T51" fmla="*/ 27 h 55"/>
                  <a:gd name="T52" fmla="*/ 95 w 109"/>
                  <a:gd name="T53" fmla="*/ 27 h 55"/>
                  <a:gd name="T54" fmla="*/ 95 w 109"/>
                  <a:gd name="T55" fmla="*/ 30 h 55"/>
                  <a:gd name="T56" fmla="*/ 99 w 109"/>
                  <a:gd name="T57" fmla="*/ 30 h 55"/>
                  <a:gd name="T58" fmla="*/ 101 w 109"/>
                  <a:gd name="T59" fmla="*/ 36 h 55"/>
                  <a:gd name="T60" fmla="*/ 106 w 109"/>
                  <a:gd name="T61" fmla="*/ 36 h 55"/>
                  <a:gd name="T62" fmla="*/ 101 w 109"/>
                  <a:gd name="T63" fmla="*/ 40 h 55"/>
                  <a:gd name="T64" fmla="*/ 101 w 109"/>
                  <a:gd name="T65" fmla="*/ 41 h 55"/>
                  <a:gd name="T66" fmla="*/ 82 w 109"/>
                  <a:gd name="T67" fmla="*/ 41 h 55"/>
                  <a:gd name="T68" fmla="*/ 82 w 109"/>
                  <a:gd name="T69" fmla="*/ 30 h 55"/>
                  <a:gd name="T70" fmla="*/ 64 w 109"/>
                  <a:gd name="T71" fmla="*/ 28 h 55"/>
                  <a:gd name="T72" fmla="*/ 62 w 109"/>
                  <a:gd name="T73" fmla="*/ 34 h 55"/>
                  <a:gd name="T74" fmla="*/ 58 w 109"/>
                  <a:gd name="T75" fmla="*/ 34 h 55"/>
                  <a:gd name="T76" fmla="*/ 54 w 109"/>
                  <a:gd name="T77" fmla="*/ 38 h 55"/>
                  <a:gd name="T78" fmla="*/ 56 w 109"/>
                  <a:gd name="T79" fmla="*/ 40 h 55"/>
                  <a:gd name="T80" fmla="*/ 51 w 109"/>
                  <a:gd name="T81" fmla="*/ 41 h 55"/>
                  <a:gd name="T82" fmla="*/ 51 w 109"/>
                  <a:gd name="T83" fmla="*/ 53 h 55"/>
                  <a:gd name="T84" fmla="*/ 26 w 109"/>
                  <a:gd name="T85" fmla="*/ 45 h 55"/>
                  <a:gd name="T86" fmla="*/ 32 w 109"/>
                  <a:gd name="T87" fmla="*/ 41 h 55"/>
                  <a:gd name="T88" fmla="*/ 39 w 109"/>
                  <a:gd name="T89" fmla="*/ 41 h 55"/>
                  <a:gd name="T90" fmla="*/ 37 w 109"/>
                  <a:gd name="T91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9" h="55">
                    <a:moveTo>
                      <a:pt x="37" y="38"/>
                    </a:moveTo>
                    <a:cubicBezTo>
                      <a:pt x="37" y="34"/>
                      <a:pt x="34" y="40"/>
                      <a:pt x="34" y="40"/>
                    </a:cubicBezTo>
                    <a:cubicBezTo>
                      <a:pt x="31" y="40"/>
                      <a:pt x="29" y="36"/>
                      <a:pt x="24" y="38"/>
                    </a:cubicBezTo>
                    <a:cubicBezTo>
                      <a:pt x="25" y="34"/>
                      <a:pt x="28" y="35"/>
                      <a:pt x="30" y="34"/>
                    </a:cubicBezTo>
                    <a:cubicBezTo>
                      <a:pt x="34" y="32"/>
                      <a:pt x="36" y="27"/>
                      <a:pt x="41" y="27"/>
                    </a:cubicBezTo>
                    <a:cubicBezTo>
                      <a:pt x="40" y="25"/>
                      <a:pt x="37" y="25"/>
                      <a:pt x="37" y="21"/>
                    </a:cubicBezTo>
                    <a:cubicBezTo>
                      <a:pt x="34" y="20"/>
                      <a:pt x="30" y="26"/>
                      <a:pt x="28" y="21"/>
                    </a:cubicBezTo>
                    <a:cubicBezTo>
                      <a:pt x="25" y="24"/>
                      <a:pt x="23" y="27"/>
                      <a:pt x="19" y="28"/>
                    </a:cubicBezTo>
                    <a:cubicBezTo>
                      <a:pt x="13" y="29"/>
                      <a:pt x="12" y="25"/>
                      <a:pt x="6" y="27"/>
                    </a:cubicBezTo>
                    <a:cubicBezTo>
                      <a:pt x="10" y="23"/>
                      <a:pt x="10" y="19"/>
                      <a:pt x="8" y="14"/>
                    </a:cubicBezTo>
                    <a:cubicBezTo>
                      <a:pt x="5" y="13"/>
                      <a:pt x="4" y="14"/>
                      <a:pt x="4" y="15"/>
                    </a:cubicBezTo>
                    <a:cubicBezTo>
                      <a:pt x="0" y="16"/>
                      <a:pt x="3" y="9"/>
                      <a:pt x="2" y="6"/>
                    </a:cubicBezTo>
                    <a:cubicBezTo>
                      <a:pt x="4" y="6"/>
                      <a:pt x="5" y="6"/>
                      <a:pt x="6" y="8"/>
                    </a:cubicBezTo>
                    <a:cubicBezTo>
                      <a:pt x="7" y="4"/>
                      <a:pt x="16" y="8"/>
                      <a:pt x="17" y="4"/>
                    </a:cubicBezTo>
                    <a:cubicBezTo>
                      <a:pt x="19" y="4"/>
                      <a:pt x="19" y="8"/>
                      <a:pt x="19" y="10"/>
                    </a:cubicBezTo>
                    <a:cubicBezTo>
                      <a:pt x="26" y="11"/>
                      <a:pt x="33" y="0"/>
                      <a:pt x="34" y="12"/>
                    </a:cubicBezTo>
                    <a:cubicBezTo>
                      <a:pt x="39" y="12"/>
                      <a:pt x="40" y="9"/>
                      <a:pt x="39" y="4"/>
                    </a:cubicBezTo>
                    <a:cubicBezTo>
                      <a:pt x="44" y="6"/>
                      <a:pt x="51" y="5"/>
                      <a:pt x="58" y="6"/>
                    </a:cubicBezTo>
                    <a:cubicBezTo>
                      <a:pt x="59" y="6"/>
                      <a:pt x="60" y="9"/>
                      <a:pt x="60" y="6"/>
                    </a:cubicBezTo>
                    <a:cubicBezTo>
                      <a:pt x="63" y="7"/>
                      <a:pt x="60" y="15"/>
                      <a:pt x="67" y="12"/>
                    </a:cubicBezTo>
                    <a:cubicBezTo>
                      <a:pt x="67" y="13"/>
                      <a:pt x="65" y="13"/>
                      <a:pt x="65" y="15"/>
                    </a:cubicBezTo>
                    <a:cubicBezTo>
                      <a:pt x="68" y="14"/>
                      <a:pt x="75" y="18"/>
                      <a:pt x="75" y="14"/>
                    </a:cubicBezTo>
                    <a:cubicBezTo>
                      <a:pt x="76" y="15"/>
                      <a:pt x="78" y="19"/>
                      <a:pt x="86" y="17"/>
                    </a:cubicBezTo>
                    <a:cubicBezTo>
                      <a:pt x="83" y="21"/>
                      <a:pt x="85" y="20"/>
                      <a:pt x="88" y="21"/>
                    </a:cubicBezTo>
                    <a:cubicBezTo>
                      <a:pt x="89" y="21"/>
                      <a:pt x="88" y="23"/>
                      <a:pt x="90" y="23"/>
                    </a:cubicBezTo>
                    <a:cubicBezTo>
                      <a:pt x="92" y="23"/>
                      <a:pt x="90" y="25"/>
                      <a:pt x="92" y="27"/>
                    </a:cubicBezTo>
                    <a:cubicBezTo>
                      <a:pt x="92" y="27"/>
                      <a:pt x="95" y="26"/>
                      <a:pt x="95" y="27"/>
                    </a:cubicBezTo>
                    <a:cubicBezTo>
                      <a:pt x="96" y="27"/>
                      <a:pt x="95" y="30"/>
                      <a:pt x="95" y="30"/>
                    </a:cubicBezTo>
                    <a:cubicBezTo>
                      <a:pt x="96" y="31"/>
                      <a:pt x="99" y="30"/>
                      <a:pt x="99" y="30"/>
                    </a:cubicBezTo>
                    <a:cubicBezTo>
                      <a:pt x="100" y="32"/>
                      <a:pt x="99" y="35"/>
                      <a:pt x="101" y="36"/>
                    </a:cubicBezTo>
                    <a:cubicBezTo>
                      <a:pt x="104" y="36"/>
                      <a:pt x="106" y="33"/>
                      <a:pt x="106" y="36"/>
                    </a:cubicBezTo>
                    <a:cubicBezTo>
                      <a:pt x="109" y="41"/>
                      <a:pt x="102" y="38"/>
                      <a:pt x="101" y="40"/>
                    </a:cubicBezTo>
                    <a:cubicBezTo>
                      <a:pt x="101" y="40"/>
                      <a:pt x="101" y="41"/>
                      <a:pt x="101" y="41"/>
                    </a:cubicBezTo>
                    <a:cubicBezTo>
                      <a:pt x="96" y="43"/>
                      <a:pt x="88" y="40"/>
                      <a:pt x="82" y="41"/>
                    </a:cubicBezTo>
                    <a:cubicBezTo>
                      <a:pt x="80" y="36"/>
                      <a:pt x="82" y="37"/>
                      <a:pt x="82" y="30"/>
                    </a:cubicBezTo>
                    <a:cubicBezTo>
                      <a:pt x="80" y="25"/>
                      <a:pt x="68" y="25"/>
                      <a:pt x="64" y="28"/>
                    </a:cubicBezTo>
                    <a:cubicBezTo>
                      <a:pt x="61" y="28"/>
                      <a:pt x="63" y="32"/>
                      <a:pt x="62" y="34"/>
                    </a:cubicBezTo>
                    <a:cubicBezTo>
                      <a:pt x="61" y="35"/>
                      <a:pt x="58" y="33"/>
                      <a:pt x="58" y="34"/>
                    </a:cubicBezTo>
                    <a:cubicBezTo>
                      <a:pt x="57" y="36"/>
                      <a:pt x="58" y="39"/>
                      <a:pt x="54" y="38"/>
                    </a:cubicBezTo>
                    <a:cubicBezTo>
                      <a:pt x="54" y="39"/>
                      <a:pt x="55" y="40"/>
                      <a:pt x="56" y="40"/>
                    </a:cubicBezTo>
                    <a:cubicBezTo>
                      <a:pt x="56" y="42"/>
                      <a:pt x="53" y="41"/>
                      <a:pt x="51" y="41"/>
                    </a:cubicBezTo>
                    <a:cubicBezTo>
                      <a:pt x="48" y="47"/>
                      <a:pt x="50" y="46"/>
                      <a:pt x="51" y="53"/>
                    </a:cubicBezTo>
                    <a:cubicBezTo>
                      <a:pt x="44" y="54"/>
                      <a:pt x="27" y="55"/>
                      <a:pt x="26" y="45"/>
                    </a:cubicBezTo>
                    <a:cubicBezTo>
                      <a:pt x="30" y="45"/>
                      <a:pt x="31" y="44"/>
                      <a:pt x="32" y="41"/>
                    </a:cubicBezTo>
                    <a:cubicBezTo>
                      <a:pt x="37" y="41"/>
                      <a:pt x="36" y="45"/>
                      <a:pt x="39" y="41"/>
                    </a:cubicBezTo>
                    <a:cubicBezTo>
                      <a:pt x="38" y="40"/>
                      <a:pt x="34" y="39"/>
                      <a:pt x="37" y="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41F42C1-5A88-4F2F-82EC-2B051E5C116C}"/>
                  </a:ext>
                </a:extLst>
              </p:cNvPr>
              <p:cNvSpPr/>
              <p:nvPr/>
            </p:nvSpPr>
            <p:spPr bwMode="auto">
              <a:xfrm>
                <a:off x="3721494" y="640411"/>
                <a:ext cx="105059" cy="56031"/>
              </a:xfrm>
              <a:custGeom>
                <a:avLst/>
                <a:gdLst>
                  <a:gd name="T0" fmla="*/ 51 w 51"/>
                  <a:gd name="T1" fmla="*/ 4 h 27"/>
                  <a:gd name="T2" fmla="*/ 51 w 51"/>
                  <a:gd name="T3" fmla="*/ 10 h 27"/>
                  <a:gd name="T4" fmla="*/ 47 w 51"/>
                  <a:gd name="T5" fmla="*/ 10 h 27"/>
                  <a:gd name="T6" fmla="*/ 47 w 51"/>
                  <a:gd name="T7" fmla="*/ 15 h 27"/>
                  <a:gd name="T8" fmla="*/ 41 w 51"/>
                  <a:gd name="T9" fmla="*/ 19 h 27"/>
                  <a:gd name="T10" fmla="*/ 36 w 51"/>
                  <a:gd name="T11" fmla="*/ 13 h 27"/>
                  <a:gd name="T12" fmla="*/ 30 w 51"/>
                  <a:gd name="T13" fmla="*/ 17 h 27"/>
                  <a:gd name="T14" fmla="*/ 23 w 51"/>
                  <a:gd name="T15" fmla="*/ 25 h 27"/>
                  <a:gd name="T16" fmla="*/ 2 w 51"/>
                  <a:gd name="T17" fmla="*/ 25 h 27"/>
                  <a:gd name="T18" fmla="*/ 0 w 51"/>
                  <a:gd name="T19" fmla="*/ 17 h 27"/>
                  <a:gd name="T20" fmla="*/ 8 w 51"/>
                  <a:gd name="T21" fmla="*/ 19 h 27"/>
                  <a:gd name="T22" fmla="*/ 15 w 51"/>
                  <a:gd name="T23" fmla="*/ 13 h 27"/>
                  <a:gd name="T24" fmla="*/ 19 w 51"/>
                  <a:gd name="T25" fmla="*/ 10 h 27"/>
                  <a:gd name="T26" fmla="*/ 24 w 51"/>
                  <a:gd name="T27" fmla="*/ 8 h 27"/>
                  <a:gd name="T28" fmla="*/ 26 w 51"/>
                  <a:gd name="T29" fmla="*/ 8 h 27"/>
                  <a:gd name="T30" fmla="*/ 30 w 51"/>
                  <a:gd name="T31" fmla="*/ 4 h 27"/>
                  <a:gd name="T32" fmla="*/ 38 w 51"/>
                  <a:gd name="T33" fmla="*/ 4 h 27"/>
                  <a:gd name="T34" fmla="*/ 51 w 51"/>
                  <a:gd name="T35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27">
                    <a:moveTo>
                      <a:pt x="51" y="4"/>
                    </a:moveTo>
                    <a:cubicBezTo>
                      <a:pt x="50" y="5"/>
                      <a:pt x="51" y="9"/>
                      <a:pt x="51" y="10"/>
                    </a:cubicBezTo>
                    <a:cubicBezTo>
                      <a:pt x="50" y="10"/>
                      <a:pt x="47" y="9"/>
                      <a:pt x="47" y="10"/>
                    </a:cubicBezTo>
                    <a:cubicBezTo>
                      <a:pt x="47" y="10"/>
                      <a:pt x="49" y="15"/>
                      <a:pt x="47" y="15"/>
                    </a:cubicBezTo>
                    <a:cubicBezTo>
                      <a:pt x="45" y="16"/>
                      <a:pt x="42" y="12"/>
                      <a:pt x="41" y="19"/>
                    </a:cubicBezTo>
                    <a:cubicBezTo>
                      <a:pt x="38" y="19"/>
                      <a:pt x="40" y="13"/>
                      <a:pt x="36" y="13"/>
                    </a:cubicBezTo>
                    <a:cubicBezTo>
                      <a:pt x="32" y="12"/>
                      <a:pt x="33" y="17"/>
                      <a:pt x="30" y="17"/>
                    </a:cubicBezTo>
                    <a:cubicBezTo>
                      <a:pt x="28" y="20"/>
                      <a:pt x="22" y="19"/>
                      <a:pt x="23" y="25"/>
                    </a:cubicBezTo>
                    <a:cubicBezTo>
                      <a:pt x="15" y="27"/>
                      <a:pt x="11" y="25"/>
                      <a:pt x="2" y="25"/>
                    </a:cubicBezTo>
                    <a:cubicBezTo>
                      <a:pt x="2" y="21"/>
                      <a:pt x="0" y="21"/>
                      <a:pt x="0" y="17"/>
                    </a:cubicBezTo>
                    <a:cubicBezTo>
                      <a:pt x="2" y="19"/>
                      <a:pt x="4" y="19"/>
                      <a:pt x="8" y="19"/>
                    </a:cubicBezTo>
                    <a:cubicBezTo>
                      <a:pt x="11" y="19"/>
                      <a:pt x="11" y="14"/>
                      <a:pt x="15" y="13"/>
                    </a:cubicBezTo>
                    <a:cubicBezTo>
                      <a:pt x="16" y="13"/>
                      <a:pt x="18" y="9"/>
                      <a:pt x="19" y="10"/>
                    </a:cubicBezTo>
                    <a:cubicBezTo>
                      <a:pt x="23" y="13"/>
                      <a:pt x="19" y="8"/>
                      <a:pt x="24" y="8"/>
                    </a:cubicBezTo>
                    <a:cubicBezTo>
                      <a:pt x="25" y="8"/>
                      <a:pt x="26" y="8"/>
                      <a:pt x="26" y="8"/>
                    </a:cubicBezTo>
                    <a:cubicBezTo>
                      <a:pt x="27" y="7"/>
                      <a:pt x="30" y="4"/>
                      <a:pt x="30" y="4"/>
                    </a:cubicBezTo>
                    <a:cubicBezTo>
                      <a:pt x="32" y="3"/>
                      <a:pt x="35" y="5"/>
                      <a:pt x="38" y="4"/>
                    </a:cubicBezTo>
                    <a:cubicBezTo>
                      <a:pt x="39" y="4"/>
                      <a:pt x="46" y="0"/>
                      <a:pt x="5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F9C9CD2-6006-469A-B3E1-3DC58B7A8DF4}"/>
                  </a:ext>
                </a:extLst>
              </p:cNvPr>
              <p:cNvSpPr/>
              <p:nvPr/>
            </p:nvSpPr>
            <p:spPr bwMode="auto">
              <a:xfrm>
                <a:off x="4011456" y="664225"/>
                <a:ext cx="109261" cy="56031"/>
              </a:xfrm>
              <a:custGeom>
                <a:avLst/>
                <a:gdLst>
                  <a:gd name="T0" fmla="*/ 47 w 52"/>
                  <a:gd name="T1" fmla="*/ 2 h 27"/>
                  <a:gd name="T2" fmla="*/ 52 w 52"/>
                  <a:gd name="T3" fmla="*/ 19 h 27"/>
                  <a:gd name="T4" fmla="*/ 49 w 52"/>
                  <a:gd name="T5" fmla="*/ 17 h 27"/>
                  <a:gd name="T6" fmla="*/ 49 w 52"/>
                  <a:gd name="T7" fmla="*/ 23 h 27"/>
                  <a:gd name="T8" fmla="*/ 41 w 52"/>
                  <a:gd name="T9" fmla="*/ 25 h 27"/>
                  <a:gd name="T10" fmla="*/ 39 w 52"/>
                  <a:gd name="T11" fmla="*/ 27 h 27"/>
                  <a:gd name="T12" fmla="*/ 34 w 52"/>
                  <a:gd name="T13" fmla="*/ 27 h 27"/>
                  <a:gd name="T14" fmla="*/ 34 w 52"/>
                  <a:gd name="T15" fmla="*/ 19 h 27"/>
                  <a:gd name="T16" fmla="*/ 15 w 52"/>
                  <a:gd name="T17" fmla="*/ 17 h 27"/>
                  <a:gd name="T18" fmla="*/ 0 w 52"/>
                  <a:gd name="T19" fmla="*/ 8 h 27"/>
                  <a:gd name="T20" fmla="*/ 2 w 52"/>
                  <a:gd name="T21" fmla="*/ 4 h 27"/>
                  <a:gd name="T22" fmla="*/ 6 w 52"/>
                  <a:gd name="T23" fmla="*/ 6 h 27"/>
                  <a:gd name="T24" fmla="*/ 15 w 52"/>
                  <a:gd name="T25" fmla="*/ 10 h 27"/>
                  <a:gd name="T26" fmla="*/ 19 w 52"/>
                  <a:gd name="T27" fmla="*/ 10 h 27"/>
                  <a:gd name="T28" fmla="*/ 21 w 52"/>
                  <a:gd name="T29" fmla="*/ 14 h 27"/>
                  <a:gd name="T30" fmla="*/ 22 w 52"/>
                  <a:gd name="T31" fmla="*/ 6 h 27"/>
                  <a:gd name="T32" fmla="*/ 26 w 52"/>
                  <a:gd name="T33" fmla="*/ 10 h 27"/>
                  <a:gd name="T34" fmla="*/ 47 w 52"/>
                  <a:gd name="T3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27">
                    <a:moveTo>
                      <a:pt x="47" y="2"/>
                    </a:moveTo>
                    <a:cubicBezTo>
                      <a:pt x="44" y="12"/>
                      <a:pt x="52" y="12"/>
                      <a:pt x="52" y="19"/>
                    </a:cubicBezTo>
                    <a:cubicBezTo>
                      <a:pt x="51" y="20"/>
                      <a:pt x="49" y="16"/>
                      <a:pt x="49" y="17"/>
                    </a:cubicBezTo>
                    <a:cubicBezTo>
                      <a:pt x="48" y="18"/>
                      <a:pt x="49" y="22"/>
                      <a:pt x="49" y="23"/>
                    </a:cubicBezTo>
                    <a:cubicBezTo>
                      <a:pt x="47" y="24"/>
                      <a:pt x="44" y="24"/>
                      <a:pt x="41" y="25"/>
                    </a:cubicBezTo>
                    <a:cubicBezTo>
                      <a:pt x="40" y="25"/>
                      <a:pt x="41" y="27"/>
                      <a:pt x="39" y="27"/>
                    </a:cubicBezTo>
                    <a:cubicBezTo>
                      <a:pt x="37" y="27"/>
                      <a:pt x="35" y="27"/>
                      <a:pt x="34" y="27"/>
                    </a:cubicBezTo>
                    <a:cubicBezTo>
                      <a:pt x="31" y="24"/>
                      <a:pt x="31" y="22"/>
                      <a:pt x="34" y="19"/>
                    </a:cubicBezTo>
                    <a:cubicBezTo>
                      <a:pt x="27" y="22"/>
                      <a:pt x="23" y="17"/>
                      <a:pt x="15" y="17"/>
                    </a:cubicBezTo>
                    <a:cubicBezTo>
                      <a:pt x="13" y="11"/>
                      <a:pt x="4" y="12"/>
                      <a:pt x="0" y="8"/>
                    </a:cubicBezTo>
                    <a:cubicBezTo>
                      <a:pt x="1" y="8"/>
                      <a:pt x="1" y="4"/>
                      <a:pt x="2" y="4"/>
                    </a:cubicBezTo>
                    <a:cubicBezTo>
                      <a:pt x="5" y="3"/>
                      <a:pt x="5" y="6"/>
                      <a:pt x="6" y="6"/>
                    </a:cubicBezTo>
                    <a:cubicBezTo>
                      <a:pt x="8" y="6"/>
                      <a:pt x="13" y="8"/>
                      <a:pt x="15" y="10"/>
                    </a:cubicBezTo>
                    <a:cubicBezTo>
                      <a:pt x="15" y="10"/>
                      <a:pt x="18" y="9"/>
                      <a:pt x="19" y="10"/>
                    </a:cubicBezTo>
                    <a:cubicBezTo>
                      <a:pt x="20" y="11"/>
                      <a:pt x="18" y="14"/>
                      <a:pt x="21" y="14"/>
                    </a:cubicBezTo>
                    <a:cubicBezTo>
                      <a:pt x="26" y="12"/>
                      <a:pt x="18" y="9"/>
                      <a:pt x="22" y="6"/>
                    </a:cubicBezTo>
                    <a:cubicBezTo>
                      <a:pt x="26" y="4"/>
                      <a:pt x="26" y="10"/>
                      <a:pt x="26" y="10"/>
                    </a:cubicBezTo>
                    <a:cubicBezTo>
                      <a:pt x="33" y="10"/>
                      <a:pt x="36" y="0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5126D986-EC06-492C-8F95-F0E5DBB90163}"/>
                  </a:ext>
                </a:extLst>
              </p:cNvPr>
              <p:cNvSpPr/>
              <p:nvPr/>
            </p:nvSpPr>
            <p:spPr bwMode="auto">
              <a:xfrm>
                <a:off x="3805541" y="665625"/>
                <a:ext cx="191908" cy="72841"/>
              </a:xfrm>
              <a:custGeom>
                <a:avLst/>
                <a:gdLst>
                  <a:gd name="T0" fmla="*/ 41 w 92"/>
                  <a:gd name="T1" fmla="*/ 13 h 35"/>
                  <a:gd name="T2" fmla="*/ 60 w 92"/>
                  <a:gd name="T3" fmla="*/ 20 h 35"/>
                  <a:gd name="T4" fmla="*/ 60 w 92"/>
                  <a:gd name="T5" fmla="*/ 11 h 35"/>
                  <a:gd name="T6" fmla="*/ 54 w 92"/>
                  <a:gd name="T7" fmla="*/ 3 h 35"/>
                  <a:gd name="T8" fmla="*/ 67 w 92"/>
                  <a:gd name="T9" fmla="*/ 1 h 35"/>
                  <a:gd name="T10" fmla="*/ 71 w 92"/>
                  <a:gd name="T11" fmla="*/ 5 h 35"/>
                  <a:gd name="T12" fmla="*/ 71 w 92"/>
                  <a:gd name="T13" fmla="*/ 9 h 35"/>
                  <a:gd name="T14" fmla="*/ 79 w 92"/>
                  <a:gd name="T15" fmla="*/ 14 h 35"/>
                  <a:gd name="T16" fmla="*/ 84 w 92"/>
                  <a:gd name="T17" fmla="*/ 11 h 35"/>
                  <a:gd name="T18" fmla="*/ 90 w 92"/>
                  <a:gd name="T19" fmla="*/ 14 h 35"/>
                  <a:gd name="T20" fmla="*/ 92 w 92"/>
                  <a:gd name="T21" fmla="*/ 18 h 35"/>
                  <a:gd name="T22" fmla="*/ 90 w 92"/>
                  <a:gd name="T23" fmla="*/ 26 h 35"/>
                  <a:gd name="T24" fmla="*/ 79 w 92"/>
                  <a:gd name="T25" fmla="*/ 27 h 35"/>
                  <a:gd name="T26" fmla="*/ 71 w 92"/>
                  <a:gd name="T27" fmla="*/ 26 h 35"/>
                  <a:gd name="T28" fmla="*/ 54 w 92"/>
                  <a:gd name="T29" fmla="*/ 29 h 35"/>
                  <a:gd name="T30" fmla="*/ 51 w 92"/>
                  <a:gd name="T31" fmla="*/ 29 h 35"/>
                  <a:gd name="T32" fmla="*/ 45 w 92"/>
                  <a:gd name="T33" fmla="*/ 31 h 35"/>
                  <a:gd name="T34" fmla="*/ 26 w 92"/>
                  <a:gd name="T35" fmla="*/ 35 h 35"/>
                  <a:gd name="T36" fmla="*/ 43 w 92"/>
                  <a:gd name="T37" fmla="*/ 29 h 35"/>
                  <a:gd name="T38" fmla="*/ 34 w 92"/>
                  <a:gd name="T39" fmla="*/ 26 h 35"/>
                  <a:gd name="T40" fmla="*/ 26 w 92"/>
                  <a:gd name="T41" fmla="*/ 22 h 35"/>
                  <a:gd name="T42" fmla="*/ 19 w 92"/>
                  <a:gd name="T43" fmla="*/ 26 h 35"/>
                  <a:gd name="T44" fmla="*/ 13 w 92"/>
                  <a:gd name="T45" fmla="*/ 24 h 35"/>
                  <a:gd name="T46" fmla="*/ 0 w 92"/>
                  <a:gd name="T47" fmla="*/ 22 h 35"/>
                  <a:gd name="T48" fmla="*/ 4 w 92"/>
                  <a:gd name="T49" fmla="*/ 18 h 35"/>
                  <a:gd name="T50" fmla="*/ 6 w 92"/>
                  <a:gd name="T51" fmla="*/ 13 h 35"/>
                  <a:gd name="T52" fmla="*/ 13 w 92"/>
                  <a:gd name="T53" fmla="*/ 11 h 35"/>
                  <a:gd name="T54" fmla="*/ 11 w 92"/>
                  <a:gd name="T55" fmla="*/ 7 h 35"/>
                  <a:gd name="T56" fmla="*/ 15 w 92"/>
                  <a:gd name="T57" fmla="*/ 7 h 35"/>
                  <a:gd name="T58" fmla="*/ 21 w 92"/>
                  <a:gd name="T59" fmla="*/ 5 h 35"/>
                  <a:gd name="T60" fmla="*/ 30 w 92"/>
                  <a:gd name="T61" fmla="*/ 7 h 35"/>
                  <a:gd name="T62" fmla="*/ 32 w 92"/>
                  <a:gd name="T63" fmla="*/ 11 h 35"/>
                  <a:gd name="T64" fmla="*/ 36 w 92"/>
                  <a:gd name="T65" fmla="*/ 11 h 35"/>
                  <a:gd name="T66" fmla="*/ 36 w 92"/>
                  <a:gd name="T67" fmla="*/ 16 h 35"/>
                  <a:gd name="T68" fmla="*/ 41 w 92"/>
                  <a:gd name="T69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2" h="35">
                    <a:moveTo>
                      <a:pt x="41" y="13"/>
                    </a:moveTo>
                    <a:cubicBezTo>
                      <a:pt x="39" y="19"/>
                      <a:pt x="56" y="16"/>
                      <a:pt x="60" y="20"/>
                    </a:cubicBezTo>
                    <a:cubicBezTo>
                      <a:pt x="63" y="12"/>
                      <a:pt x="47" y="11"/>
                      <a:pt x="60" y="11"/>
                    </a:cubicBezTo>
                    <a:cubicBezTo>
                      <a:pt x="63" y="4"/>
                      <a:pt x="52" y="10"/>
                      <a:pt x="54" y="3"/>
                    </a:cubicBezTo>
                    <a:cubicBezTo>
                      <a:pt x="60" y="4"/>
                      <a:pt x="61" y="0"/>
                      <a:pt x="67" y="1"/>
                    </a:cubicBezTo>
                    <a:cubicBezTo>
                      <a:pt x="66" y="5"/>
                      <a:pt x="70" y="4"/>
                      <a:pt x="71" y="5"/>
                    </a:cubicBezTo>
                    <a:cubicBezTo>
                      <a:pt x="72" y="6"/>
                      <a:pt x="70" y="8"/>
                      <a:pt x="71" y="9"/>
                    </a:cubicBezTo>
                    <a:cubicBezTo>
                      <a:pt x="73" y="10"/>
                      <a:pt x="76" y="11"/>
                      <a:pt x="79" y="14"/>
                    </a:cubicBezTo>
                    <a:cubicBezTo>
                      <a:pt x="80" y="13"/>
                      <a:pt x="80" y="10"/>
                      <a:pt x="84" y="11"/>
                    </a:cubicBezTo>
                    <a:cubicBezTo>
                      <a:pt x="87" y="11"/>
                      <a:pt x="89" y="13"/>
                      <a:pt x="90" y="14"/>
                    </a:cubicBezTo>
                    <a:cubicBezTo>
                      <a:pt x="90" y="15"/>
                      <a:pt x="92" y="18"/>
                      <a:pt x="92" y="18"/>
                    </a:cubicBezTo>
                    <a:cubicBezTo>
                      <a:pt x="89" y="21"/>
                      <a:pt x="92" y="20"/>
                      <a:pt x="90" y="26"/>
                    </a:cubicBezTo>
                    <a:cubicBezTo>
                      <a:pt x="86" y="21"/>
                      <a:pt x="82" y="27"/>
                      <a:pt x="79" y="27"/>
                    </a:cubicBezTo>
                    <a:cubicBezTo>
                      <a:pt x="75" y="28"/>
                      <a:pt x="75" y="26"/>
                      <a:pt x="71" y="26"/>
                    </a:cubicBezTo>
                    <a:cubicBezTo>
                      <a:pt x="66" y="26"/>
                      <a:pt x="58" y="28"/>
                      <a:pt x="54" y="29"/>
                    </a:cubicBezTo>
                    <a:cubicBezTo>
                      <a:pt x="54" y="30"/>
                      <a:pt x="51" y="29"/>
                      <a:pt x="51" y="29"/>
                    </a:cubicBezTo>
                    <a:cubicBezTo>
                      <a:pt x="49" y="31"/>
                      <a:pt x="48" y="30"/>
                      <a:pt x="45" y="31"/>
                    </a:cubicBezTo>
                    <a:cubicBezTo>
                      <a:pt x="43" y="32"/>
                      <a:pt x="33" y="34"/>
                      <a:pt x="26" y="35"/>
                    </a:cubicBezTo>
                    <a:cubicBezTo>
                      <a:pt x="27" y="28"/>
                      <a:pt x="36" y="30"/>
                      <a:pt x="43" y="29"/>
                    </a:cubicBezTo>
                    <a:cubicBezTo>
                      <a:pt x="44" y="21"/>
                      <a:pt x="37" y="26"/>
                      <a:pt x="34" y="26"/>
                    </a:cubicBezTo>
                    <a:cubicBezTo>
                      <a:pt x="30" y="25"/>
                      <a:pt x="30" y="24"/>
                      <a:pt x="26" y="22"/>
                    </a:cubicBezTo>
                    <a:cubicBezTo>
                      <a:pt x="23" y="21"/>
                      <a:pt x="22" y="25"/>
                      <a:pt x="19" y="26"/>
                    </a:cubicBezTo>
                    <a:cubicBezTo>
                      <a:pt x="16" y="26"/>
                      <a:pt x="16" y="24"/>
                      <a:pt x="13" y="24"/>
                    </a:cubicBezTo>
                    <a:cubicBezTo>
                      <a:pt x="9" y="23"/>
                      <a:pt x="3" y="25"/>
                      <a:pt x="0" y="22"/>
                    </a:cubicBezTo>
                    <a:cubicBezTo>
                      <a:pt x="0" y="20"/>
                      <a:pt x="3" y="19"/>
                      <a:pt x="4" y="18"/>
                    </a:cubicBezTo>
                    <a:cubicBezTo>
                      <a:pt x="4" y="17"/>
                      <a:pt x="5" y="13"/>
                      <a:pt x="6" y="13"/>
                    </a:cubicBezTo>
                    <a:cubicBezTo>
                      <a:pt x="8" y="11"/>
                      <a:pt x="11" y="13"/>
                      <a:pt x="13" y="11"/>
                    </a:cubicBezTo>
                    <a:cubicBezTo>
                      <a:pt x="14" y="10"/>
                      <a:pt x="7" y="8"/>
                      <a:pt x="11" y="7"/>
                    </a:cubicBezTo>
                    <a:cubicBezTo>
                      <a:pt x="13" y="7"/>
                      <a:pt x="14" y="7"/>
                      <a:pt x="15" y="7"/>
                    </a:cubicBezTo>
                    <a:cubicBezTo>
                      <a:pt x="17" y="6"/>
                      <a:pt x="19" y="5"/>
                      <a:pt x="21" y="5"/>
                    </a:cubicBezTo>
                    <a:cubicBezTo>
                      <a:pt x="22" y="5"/>
                      <a:pt x="29" y="6"/>
                      <a:pt x="30" y="7"/>
                    </a:cubicBezTo>
                    <a:cubicBezTo>
                      <a:pt x="31" y="8"/>
                      <a:pt x="30" y="10"/>
                      <a:pt x="32" y="11"/>
                    </a:cubicBezTo>
                    <a:cubicBezTo>
                      <a:pt x="33" y="11"/>
                      <a:pt x="35" y="10"/>
                      <a:pt x="36" y="11"/>
                    </a:cubicBezTo>
                    <a:cubicBezTo>
                      <a:pt x="37" y="12"/>
                      <a:pt x="32" y="17"/>
                      <a:pt x="36" y="16"/>
                    </a:cubicBezTo>
                    <a:cubicBezTo>
                      <a:pt x="37" y="16"/>
                      <a:pt x="38" y="11"/>
                      <a:pt x="41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6FBEC6F-422C-464C-A1D7-D1D8C14DD379}"/>
                  </a:ext>
                </a:extLst>
              </p:cNvPr>
              <p:cNvSpPr/>
              <p:nvPr/>
            </p:nvSpPr>
            <p:spPr bwMode="auto">
              <a:xfrm>
                <a:off x="3675269" y="741268"/>
                <a:ext cx="151284" cy="100856"/>
              </a:xfrm>
              <a:custGeom>
                <a:avLst/>
                <a:gdLst>
                  <a:gd name="T0" fmla="*/ 9 w 73"/>
                  <a:gd name="T1" fmla="*/ 1 h 49"/>
                  <a:gd name="T2" fmla="*/ 41 w 73"/>
                  <a:gd name="T3" fmla="*/ 3 h 49"/>
                  <a:gd name="T4" fmla="*/ 45 w 73"/>
                  <a:gd name="T5" fmla="*/ 3 h 49"/>
                  <a:gd name="T6" fmla="*/ 52 w 73"/>
                  <a:gd name="T7" fmla="*/ 5 h 49"/>
                  <a:gd name="T8" fmla="*/ 60 w 73"/>
                  <a:gd name="T9" fmla="*/ 5 h 49"/>
                  <a:gd name="T10" fmla="*/ 61 w 73"/>
                  <a:gd name="T11" fmla="*/ 6 h 49"/>
                  <a:gd name="T12" fmla="*/ 73 w 73"/>
                  <a:gd name="T13" fmla="*/ 14 h 49"/>
                  <a:gd name="T14" fmla="*/ 56 w 73"/>
                  <a:gd name="T15" fmla="*/ 18 h 49"/>
                  <a:gd name="T16" fmla="*/ 54 w 73"/>
                  <a:gd name="T17" fmla="*/ 21 h 49"/>
                  <a:gd name="T18" fmla="*/ 50 w 73"/>
                  <a:gd name="T19" fmla="*/ 19 h 49"/>
                  <a:gd name="T20" fmla="*/ 48 w 73"/>
                  <a:gd name="T21" fmla="*/ 21 h 49"/>
                  <a:gd name="T22" fmla="*/ 50 w 73"/>
                  <a:gd name="T23" fmla="*/ 23 h 49"/>
                  <a:gd name="T24" fmla="*/ 46 w 73"/>
                  <a:gd name="T25" fmla="*/ 25 h 49"/>
                  <a:gd name="T26" fmla="*/ 46 w 73"/>
                  <a:gd name="T27" fmla="*/ 29 h 49"/>
                  <a:gd name="T28" fmla="*/ 43 w 73"/>
                  <a:gd name="T29" fmla="*/ 29 h 49"/>
                  <a:gd name="T30" fmla="*/ 39 w 73"/>
                  <a:gd name="T31" fmla="*/ 32 h 49"/>
                  <a:gd name="T32" fmla="*/ 39 w 73"/>
                  <a:gd name="T33" fmla="*/ 40 h 49"/>
                  <a:gd name="T34" fmla="*/ 17 w 73"/>
                  <a:gd name="T35" fmla="*/ 46 h 49"/>
                  <a:gd name="T36" fmla="*/ 0 w 73"/>
                  <a:gd name="T37" fmla="*/ 34 h 49"/>
                  <a:gd name="T38" fmla="*/ 5 w 73"/>
                  <a:gd name="T39" fmla="*/ 31 h 49"/>
                  <a:gd name="T40" fmla="*/ 7 w 73"/>
                  <a:gd name="T41" fmla="*/ 27 h 49"/>
                  <a:gd name="T42" fmla="*/ 5 w 73"/>
                  <a:gd name="T43" fmla="*/ 19 h 49"/>
                  <a:gd name="T44" fmla="*/ 9 w 73"/>
                  <a:gd name="T45" fmla="*/ 18 h 49"/>
                  <a:gd name="T46" fmla="*/ 13 w 73"/>
                  <a:gd name="T47" fmla="*/ 10 h 49"/>
                  <a:gd name="T48" fmla="*/ 9 w 73"/>
                  <a:gd name="T49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" h="49">
                    <a:moveTo>
                      <a:pt x="9" y="1"/>
                    </a:moveTo>
                    <a:cubicBezTo>
                      <a:pt x="21" y="1"/>
                      <a:pt x="33" y="0"/>
                      <a:pt x="41" y="3"/>
                    </a:cubicBezTo>
                    <a:cubicBezTo>
                      <a:pt x="42" y="3"/>
                      <a:pt x="44" y="2"/>
                      <a:pt x="45" y="3"/>
                    </a:cubicBezTo>
                    <a:cubicBezTo>
                      <a:pt x="46" y="5"/>
                      <a:pt x="50" y="3"/>
                      <a:pt x="52" y="5"/>
                    </a:cubicBezTo>
                    <a:cubicBezTo>
                      <a:pt x="55" y="8"/>
                      <a:pt x="52" y="2"/>
                      <a:pt x="60" y="5"/>
                    </a:cubicBezTo>
                    <a:cubicBezTo>
                      <a:pt x="60" y="5"/>
                      <a:pt x="60" y="6"/>
                      <a:pt x="61" y="6"/>
                    </a:cubicBezTo>
                    <a:cubicBezTo>
                      <a:pt x="63" y="6"/>
                      <a:pt x="73" y="9"/>
                      <a:pt x="73" y="14"/>
                    </a:cubicBezTo>
                    <a:cubicBezTo>
                      <a:pt x="66" y="15"/>
                      <a:pt x="60" y="16"/>
                      <a:pt x="56" y="18"/>
                    </a:cubicBezTo>
                    <a:cubicBezTo>
                      <a:pt x="54" y="18"/>
                      <a:pt x="55" y="21"/>
                      <a:pt x="54" y="21"/>
                    </a:cubicBezTo>
                    <a:cubicBezTo>
                      <a:pt x="53" y="22"/>
                      <a:pt x="51" y="19"/>
                      <a:pt x="50" y="19"/>
                    </a:cubicBezTo>
                    <a:cubicBezTo>
                      <a:pt x="51" y="19"/>
                      <a:pt x="48" y="23"/>
                      <a:pt x="48" y="21"/>
                    </a:cubicBezTo>
                    <a:cubicBezTo>
                      <a:pt x="48" y="22"/>
                      <a:pt x="50" y="24"/>
                      <a:pt x="50" y="23"/>
                    </a:cubicBezTo>
                    <a:cubicBezTo>
                      <a:pt x="49" y="25"/>
                      <a:pt x="47" y="24"/>
                      <a:pt x="46" y="25"/>
                    </a:cubicBezTo>
                    <a:cubicBezTo>
                      <a:pt x="46" y="26"/>
                      <a:pt x="47" y="28"/>
                      <a:pt x="46" y="29"/>
                    </a:cubicBezTo>
                    <a:cubicBezTo>
                      <a:pt x="46" y="29"/>
                      <a:pt x="43" y="28"/>
                      <a:pt x="43" y="29"/>
                    </a:cubicBezTo>
                    <a:cubicBezTo>
                      <a:pt x="42" y="30"/>
                      <a:pt x="41" y="32"/>
                      <a:pt x="39" y="32"/>
                    </a:cubicBezTo>
                    <a:cubicBezTo>
                      <a:pt x="39" y="35"/>
                      <a:pt x="39" y="37"/>
                      <a:pt x="39" y="40"/>
                    </a:cubicBezTo>
                    <a:cubicBezTo>
                      <a:pt x="30" y="40"/>
                      <a:pt x="31" y="49"/>
                      <a:pt x="17" y="46"/>
                    </a:cubicBezTo>
                    <a:cubicBezTo>
                      <a:pt x="18" y="34"/>
                      <a:pt x="7" y="37"/>
                      <a:pt x="0" y="34"/>
                    </a:cubicBezTo>
                    <a:cubicBezTo>
                      <a:pt x="1" y="32"/>
                      <a:pt x="4" y="32"/>
                      <a:pt x="5" y="31"/>
                    </a:cubicBezTo>
                    <a:cubicBezTo>
                      <a:pt x="6" y="30"/>
                      <a:pt x="2" y="25"/>
                      <a:pt x="7" y="27"/>
                    </a:cubicBezTo>
                    <a:cubicBezTo>
                      <a:pt x="8" y="24"/>
                      <a:pt x="5" y="23"/>
                      <a:pt x="5" y="19"/>
                    </a:cubicBezTo>
                    <a:cubicBezTo>
                      <a:pt x="8" y="22"/>
                      <a:pt x="8" y="21"/>
                      <a:pt x="9" y="18"/>
                    </a:cubicBezTo>
                    <a:cubicBezTo>
                      <a:pt x="10" y="15"/>
                      <a:pt x="13" y="16"/>
                      <a:pt x="13" y="10"/>
                    </a:cubicBezTo>
                    <a:cubicBezTo>
                      <a:pt x="14" y="4"/>
                      <a:pt x="7" y="8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A6DC6D3-2CDC-4AD6-B229-3B7A1125B147}"/>
                  </a:ext>
                </a:extLst>
              </p:cNvPr>
              <p:cNvSpPr/>
              <p:nvPr/>
            </p:nvSpPr>
            <p:spPr bwMode="auto">
              <a:xfrm>
                <a:off x="3980640" y="760879"/>
                <a:ext cx="30817" cy="23814"/>
              </a:xfrm>
              <a:custGeom>
                <a:avLst/>
                <a:gdLst>
                  <a:gd name="T0" fmla="*/ 2 w 15"/>
                  <a:gd name="T1" fmla="*/ 0 h 11"/>
                  <a:gd name="T2" fmla="*/ 13 w 15"/>
                  <a:gd name="T3" fmla="*/ 0 h 11"/>
                  <a:gd name="T4" fmla="*/ 15 w 15"/>
                  <a:gd name="T5" fmla="*/ 8 h 11"/>
                  <a:gd name="T6" fmla="*/ 11 w 15"/>
                  <a:gd name="T7" fmla="*/ 11 h 11"/>
                  <a:gd name="T8" fmla="*/ 0 w 15"/>
                  <a:gd name="T9" fmla="*/ 6 h 11"/>
                  <a:gd name="T10" fmla="*/ 2 w 15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2" y="0"/>
                    </a:moveTo>
                    <a:cubicBezTo>
                      <a:pt x="6" y="0"/>
                      <a:pt x="9" y="0"/>
                      <a:pt x="13" y="0"/>
                    </a:cubicBezTo>
                    <a:cubicBezTo>
                      <a:pt x="13" y="3"/>
                      <a:pt x="15" y="4"/>
                      <a:pt x="15" y="8"/>
                    </a:cubicBezTo>
                    <a:cubicBezTo>
                      <a:pt x="12" y="7"/>
                      <a:pt x="11" y="9"/>
                      <a:pt x="11" y="11"/>
                    </a:cubicBezTo>
                    <a:cubicBezTo>
                      <a:pt x="8" y="9"/>
                      <a:pt x="7" y="5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C7B14869-F45D-49EB-80A6-19FE6B561DEA}"/>
                  </a:ext>
                </a:extLst>
              </p:cNvPr>
              <p:cNvSpPr/>
              <p:nvPr/>
            </p:nvSpPr>
            <p:spPr bwMode="auto">
              <a:xfrm>
                <a:off x="4148734" y="751074"/>
                <a:ext cx="77043" cy="54631"/>
              </a:xfrm>
              <a:custGeom>
                <a:avLst/>
                <a:gdLst>
                  <a:gd name="T0" fmla="*/ 33 w 37"/>
                  <a:gd name="T1" fmla="*/ 1 h 26"/>
                  <a:gd name="T2" fmla="*/ 35 w 37"/>
                  <a:gd name="T3" fmla="*/ 11 h 26"/>
                  <a:gd name="T4" fmla="*/ 31 w 37"/>
                  <a:gd name="T5" fmla="*/ 14 h 26"/>
                  <a:gd name="T6" fmla="*/ 22 w 37"/>
                  <a:gd name="T7" fmla="*/ 16 h 26"/>
                  <a:gd name="T8" fmla="*/ 7 w 37"/>
                  <a:gd name="T9" fmla="*/ 26 h 26"/>
                  <a:gd name="T10" fmla="*/ 5 w 37"/>
                  <a:gd name="T11" fmla="*/ 18 h 26"/>
                  <a:gd name="T12" fmla="*/ 1 w 37"/>
                  <a:gd name="T13" fmla="*/ 14 h 26"/>
                  <a:gd name="T14" fmla="*/ 1 w 37"/>
                  <a:gd name="T15" fmla="*/ 5 h 26"/>
                  <a:gd name="T16" fmla="*/ 5 w 37"/>
                  <a:gd name="T17" fmla="*/ 1 h 26"/>
                  <a:gd name="T18" fmla="*/ 10 w 37"/>
                  <a:gd name="T19" fmla="*/ 0 h 26"/>
                  <a:gd name="T20" fmla="*/ 25 w 37"/>
                  <a:gd name="T21" fmla="*/ 3 h 26"/>
                  <a:gd name="T22" fmla="*/ 33 w 37"/>
                  <a:gd name="T23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6">
                    <a:moveTo>
                      <a:pt x="33" y="1"/>
                    </a:moveTo>
                    <a:cubicBezTo>
                      <a:pt x="37" y="1"/>
                      <a:pt x="34" y="8"/>
                      <a:pt x="35" y="11"/>
                    </a:cubicBezTo>
                    <a:cubicBezTo>
                      <a:pt x="32" y="10"/>
                      <a:pt x="31" y="12"/>
                      <a:pt x="31" y="14"/>
                    </a:cubicBezTo>
                    <a:cubicBezTo>
                      <a:pt x="25" y="11"/>
                      <a:pt x="23" y="21"/>
                      <a:pt x="22" y="16"/>
                    </a:cubicBezTo>
                    <a:cubicBezTo>
                      <a:pt x="17" y="20"/>
                      <a:pt x="14" y="25"/>
                      <a:pt x="7" y="26"/>
                    </a:cubicBezTo>
                    <a:cubicBezTo>
                      <a:pt x="5" y="24"/>
                      <a:pt x="5" y="21"/>
                      <a:pt x="5" y="18"/>
                    </a:cubicBezTo>
                    <a:cubicBezTo>
                      <a:pt x="4" y="16"/>
                      <a:pt x="2" y="17"/>
                      <a:pt x="1" y="14"/>
                    </a:cubicBezTo>
                    <a:cubicBezTo>
                      <a:pt x="0" y="12"/>
                      <a:pt x="2" y="8"/>
                      <a:pt x="1" y="5"/>
                    </a:cubicBezTo>
                    <a:cubicBezTo>
                      <a:pt x="4" y="6"/>
                      <a:pt x="5" y="4"/>
                      <a:pt x="5" y="1"/>
                    </a:cubicBezTo>
                    <a:cubicBezTo>
                      <a:pt x="7" y="2"/>
                      <a:pt x="10" y="2"/>
                      <a:pt x="10" y="0"/>
                    </a:cubicBezTo>
                    <a:cubicBezTo>
                      <a:pt x="13" y="3"/>
                      <a:pt x="23" y="0"/>
                      <a:pt x="25" y="3"/>
                    </a:cubicBezTo>
                    <a:cubicBezTo>
                      <a:pt x="28" y="3"/>
                      <a:pt x="32" y="4"/>
                      <a:pt x="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29DAC057-AEB6-402D-9E52-B4CBA82986AC}"/>
                  </a:ext>
                </a:extLst>
              </p:cNvPr>
              <p:cNvSpPr/>
              <p:nvPr/>
            </p:nvSpPr>
            <p:spPr bwMode="auto">
              <a:xfrm>
                <a:off x="5279165" y="962591"/>
                <a:ext cx="166694" cy="81245"/>
              </a:xfrm>
              <a:custGeom>
                <a:avLst/>
                <a:gdLst>
                  <a:gd name="T0" fmla="*/ 58 w 80"/>
                  <a:gd name="T1" fmla="*/ 0 h 39"/>
                  <a:gd name="T2" fmla="*/ 66 w 80"/>
                  <a:gd name="T3" fmla="*/ 4 h 39"/>
                  <a:gd name="T4" fmla="*/ 71 w 80"/>
                  <a:gd name="T5" fmla="*/ 6 h 39"/>
                  <a:gd name="T6" fmla="*/ 69 w 80"/>
                  <a:gd name="T7" fmla="*/ 9 h 39"/>
                  <a:gd name="T8" fmla="*/ 79 w 80"/>
                  <a:gd name="T9" fmla="*/ 15 h 39"/>
                  <a:gd name="T10" fmla="*/ 73 w 80"/>
                  <a:gd name="T11" fmla="*/ 26 h 39"/>
                  <a:gd name="T12" fmla="*/ 68 w 80"/>
                  <a:gd name="T13" fmla="*/ 28 h 39"/>
                  <a:gd name="T14" fmla="*/ 60 w 80"/>
                  <a:gd name="T15" fmla="*/ 32 h 39"/>
                  <a:gd name="T16" fmla="*/ 55 w 80"/>
                  <a:gd name="T17" fmla="*/ 34 h 39"/>
                  <a:gd name="T18" fmla="*/ 51 w 80"/>
                  <a:gd name="T19" fmla="*/ 35 h 39"/>
                  <a:gd name="T20" fmla="*/ 28 w 80"/>
                  <a:gd name="T21" fmla="*/ 37 h 39"/>
                  <a:gd name="T22" fmla="*/ 27 w 80"/>
                  <a:gd name="T23" fmla="*/ 35 h 39"/>
                  <a:gd name="T24" fmla="*/ 19 w 80"/>
                  <a:gd name="T25" fmla="*/ 32 h 39"/>
                  <a:gd name="T26" fmla="*/ 15 w 80"/>
                  <a:gd name="T27" fmla="*/ 30 h 39"/>
                  <a:gd name="T28" fmla="*/ 19 w 80"/>
                  <a:gd name="T29" fmla="*/ 28 h 39"/>
                  <a:gd name="T30" fmla="*/ 14 w 80"/>
                  <a:gd name="T31" fmla="*/ 24 h 39"/>
                  <a:gd name="T32" fmla="*/ 14 w 80"/>
                  <a:gd name="T33" fmla="*/ 13 h 39"/>
                  <a:gd name="T34" fmla="*/ 2 w 80"/>
                  <a:gd name="T35" fmla="*/ 15 h 39"/>
                  <a:gd name="T36" fmla="*/ 6 w 80"/>
                  <a:gd name="T37" fmla="*/ 7 h 39"/>
                  <a:gd name="T38" fmla="*/ 21 w 80"/>
                  <a:gd name="T39" fmla="*/ 7 h 39"/>
                  <a:gd name="T40" fmla="*/ 23 w 80"/>
                  <a:gd name="T41" fmla="*/ 15 h 39"/>
                  <a:gd name="T42" fmla="*/ 28 w 80"/>
                  <a:gd name="T43" fmla="*/ 7 h 39"/>
                  <a:gd name="T44" fmla="*/ 40 w 80"/>
                  <a:gd name="T45" fmla="*/ 11 h 39"/>
                  <a:gd name="T46" fmla="*/ 43 w 80"/>
                  <a:gd name="T47" fmla="*/ 7 h 39"/>
                  <a:gd name="T48" fmla="*/ 55 w 80"/>
                  <a:gd name="T49" fmla="*/ 6 h 39"/>
                  <a:gd name="T50" fmla="*/ 58 w 80"/>
                  <a:gd name="T5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" h="39">
                    <a:moveTo>
                      <a:pt x="58" y="0"/>
                    </a:moveTo>
                    <a:cubicBezTo>
                      <a:pt x="60" y="1"/>
                      <a:pt x="63" y="2"/>
                      <a:pt x="66" y="4"/>
                    </a:cubicBezTo>
                    <a:cubicBezTo>
                      <a:pt x="66" y="4"/>
                      <a:pt x="71" y="5"/>
                      <a:pt x="71" y="6"/>
                    </a:cubicBezTo>
                    <a:cubicBezTo>
                      <a:pt x="72" y="6"/>
                      <a:pt x="69" y="9"/>
                      <a:pt x="69" y="9"/>
                    </a:cubicBezTo>
                    <a:cubicBezTo>
                      <a:pt x="70" y="13"/>
                      <a:pt x="74" y="16"/>
                      <a:pt x="79" y="15"/>
                    </a:cubicBezTo>
                    <a:cubicBezTo>
                      <a:pt x="80" y="20"/>
                      <a:pt x="78" y="22"/>
                      <a:pt x="73" y="26"/>
                    </a:cubicBezTo>
                    <a:cubicBezTo>
                      <a:pt x="72" y="27"/>
                      <a:pt x="69" y="27"/>
                      <a:pt x="68" y="28"/>
                    </a:cubicBezTo>
                    <a:cubicBezTo>
                      <a:pt x="64" y="30"/>
                      <a:pt x="65" y="30"/>
                      <a:pt x="60" y="32"/>
                    </a:cubicBezTo>
                    <a:cubicBezTo>
                      <a:pt x="60" y="32"/>
                      <a:pt x="55" y="33"/>
                      <a:pt x="55" y="34"/>
                    </a:cubicBezTo>
                    <a:cubicBezTo>
                      <a:pt x="53" y="35"/>
                      <a:pt x="53" y="35"/>
                      <a:pt x="51" y="35"/>
                    </a:cubicBezTo>
                    <a:cubicBezTo>
                      <a:pt x="49" y="36"/>
                      <a:pt x="35" y="39"/>
                      <a:pt x="28" y="37"/>
                    </a:cubicBezTo>
                    <a:cubicBezTo>
                      <a:pt x="28" y="37"/>
                      <a:pt x="28" y="36"/>
                      <a:pt x="27" y="35"/>
                    </a:cubicBezTo>
                    <a:cubicBezTo>
                      <a:pt x="24" y="35"/>
                      <a:pt x="23" y="32"/>
                      <a:pt x="19" y="32"/>
                    </a:cubicBezTo>
                    <a:cubicBezTo>
                      <a:pt x="18" y="32"/>
                      <a:pt x="17" y="30"/>
                      <a:pt x="15" y="30"/>
                    </a:cubicBezTo>
                    <a:cubicBezTo>
                      <a:pt x="15" y="28"/>
                      <a:pt x="18" y="28"/>
                      <a:pt x="19" y="28"/>
                    </a:cubicBezTo>
                    <a:cubicBezTo>
                      <a:pt x="19" y="26"/>
                      <a:pt x="14" y="26"/>
                      <a:pt x="14" y="24"/>
                    </a:cubicBezTo>
                    <a:cubicBezTo>
                      <a:pt x="12" y="21"/>
                      <a:pt x="15" y="18"/>
                      <a:pt x="14" y="13"/>
                    </a:cubicBezTo>
                    <a:cubicBezTo>
                      <a:pt x="6" y="11"/>
                      <a:pt x="7" y="20"/>
                      <a:pt x="2" y="15"/>
                    </a:cubicBezTo>
                    <a:cubicBezTo>
                      <a:pt x="0" y="9"/>
                      <a:pt x="8" y="14"/>
                      <a:pt x="6" y="7"/>
                    </a:cubicBezTo>
                    <a:cubicBezTo>
                      <a:pt x="14" y="9"/>
                      <a:pt x="13" y="8"/>
                      <a:pt x="21" y="7"/>
                    </a:cubicBezTo>
                    <a:cubicBezTo>
                      <a:pt x="22" y="11"/>
                      <a:pt x="27" y="11"/>
                      <a:pt x="23" y="15"/>
                    </a:cubicBezTo>
                    <a:cubicBezTo>
                      <a:pt x="28" y="15"/>
                      <a:pt x="29" y="12"/>
                      <a:pt x="28" y="7"/>
                    </a:cubicBezTo>
                    <a:cubicBezTo>
                      <a:pt x="29" y="11"/>
                      <a:pt x="45" y="3"/>
                      <a:pt x="40" y="11"/>
                    </a:cubicBezTo>
                    <a:cubicBezTo>
                      <a:pt x="44" y="13"/>
                      <a:pt x="42" y="8"/>
                      <a:pt x="43" y="7"/>
                    </a:cubicBezTo>
                    <a:cubicBezTo>
                      <a:pt x="46" y="6"/>
                      <a:pt x="51" y="7"/>
                      <a:pt x="55" y="6"/>
                    </a:cubicBezTo>
                    <a:cubicBezTo>
                      <a:pt x="57" y="5"/>
                      <a:pt x="58" y="3"/>
                      <a:pt x="5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B5DDD8D-0821-45E4-8CEC-999F41640355}"/>
                  </a:ext>
                </a:extLst>
              </p:cNvPr>
              <p:cNvSpPr/>
              <p:nvPr/>
            </p:nvSpPr>
            <p:spPr bwMode="auto">
              <a:xfrm>
                <a:off x="4284609" y="982202"/>
                <a:ext cx="99456" cy="70039"/>
              </a:xfrm>
              <a:custGeom>
                <a:avLst/>
                <a:gdLst>
                  <a:gd name="T0" fmla="*/ 13 w 48"/>
                  <a:gd name="T1" fmla="*/ 0 h 34"/>
                  <a:gd name="T2" fmla="*/ 24 w 48"/>
                  <a:gd name="T3" fmla="*/ 12 h 34"/>
                  <a:gd name="T4" fmla="*/ 27 w 48"/>
                  <a:gd name="T5" fmla="*/ 10 h 34"/>
                  <a:gd name="T6" fmla="*/ 33 w 48"/>
                  <a:gd name="T7" fmla="*/ 15 h 34"/>
                  <a:gd name="T8" fmla="*/ 41 w 48"/>
                  <a:gd name="T9" fmla="*/ 25 h 34"/>
                  <a:gd name="T10" fmla="*/ 48 w 48"/>
                  <a:gd name="T11" fmla="*/ 26 h 34"/>
                  <a:gd name="T12" fmla="*/ 24 w 48"/>
                  <a:gd name="T13" fmla="*/ 28 h 34"/>
                  <a:gd name="T14" fmla="*/ 14 w 48"/>
                  <a:gd name="T15" fmla="*/ 34 h 34"/>
                  <a:gd name="T16" fmla="*/ 0 w 48"/>
                  <a:gd name="T17" fmla="*/ 28 h 34"/>
                  <a:gd name="T18" fmla="*/ 3 w 48"/>
                  <a:gd name="T19" fmla="*/ 26 h 34"/>
                  <a:gd name="T20" fmla="*/ 5 w 48"/>
                  <a:gd name="T21" fmla="*/ 23 h 34"/>
                  <a:gd name="T22" fmla="*/ 5 w 48"/>
                  <a:gd name="T23" fmla="*/ 6 h 34"/>
                  <a:gd name="T24" fmla="*/ 13 w 48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" h="34">
                    <a:moveTo>
                      <a:pt x="13" y="0"/>
                    </a:moveTo>
                    <a:cubicBezTo>
                      <a:pt x="15" y="5"/>
                      <a:pt x="25" y="3"/>
                      <a:pt x="24" y="12"/>
                    </a:cubicBezTo>
                    <a:cubicBezTo>
                      <a:pt x="25" y="13"/>
                      <a:pt x="28" y="10"/>
                      <a:pt x="27" y="10"/>
                    </a:cubicBezTo>
                    <a:cubicBezTo>
                      <a:pt x="30" y="11"/>
                      <a:pt x="29" y="15"/>
                      <a:pt x="33" y="15"/>
                    </a:cubicBezTo>
                    <a:cubicBezTo>
                      <a:pt x="36" y="15"/>
                      <a:pt x="38" y="22"/>
                      <a:pt x="41" y="25"/>
                    </a:cubicBezTo>
                    <a:cubicBezTo>
                      <a:pt x="46" y="23"/>
                      <a:pt x="44" y="23"/>
                      <a:pt x="48" y="26"/>
                    </a:cubicBezTo>
                    <a:cubicBezTo>
                      <a:pt x="44" y="31"/>
                      <a:pt x="31" y="27"/>
                      <a:pt x="24" y="28"/>
                    </a:cubicBezTo>
                    <a:cubicBezTo>
                      <a:pt x="21" y="30"/>
                      <a:pt x="16" y="31"/>
                      <a:pt x="14" y="34"/>
                    </a:cubicBezTo>
                    <a:cubicBezTo>
                      <a:pt x="10" y="31"/>
                      <a:pt x="8" y="26"/>
                      <a:pt x="0" y="28"/>
                    </a:cubicBezTo>
                    <a:cubicBezTo>
                      <a:pt x="0" y="27"/>
                      <a:pt x="2" y="27"/>
                      <a:pt x="3" y="26"/>
                    </a:cubicBezTo>
                    <a:cubicBezTo>
                      <a:pt x="1" y="24"/>
                      <a:pt x="2" y="23"/>
                      <a:pt x="5" y="23"/>
                    </a:cubicBezTo>
                    <a:cubicBezTo>
                      <a:pt x="2" y="16"/>
                      <a:pt x="5" y="14"/>
                      <a:pt x="5" y="6"/>
                    </a:cubicBezTo>
                    <a:cubicBezTo>
                      <a:pt x="9" y="5"/>
                      <a:pt x="13" y="5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69FF380-2835-46DE-93AB-4D1770ECA847}"/>
                  </a:ext>
                </a:extLst>
              </p:cNvPr>
              <p:cNvSpPr/>
              <p:nvPr/>
            </p:nvSpPr>
            <p:spPr bwMode="auto">
              <a:xfrm>
                <a:off x="7168821" y="2123839"/>
                <a:ext cx="165292" cy="177900"/>
              </a:xfrm>
              <a:custGeom>
                <a:avLst/>
                <a:gdLst>
                  <a:gd name="T0" fmla="*/ 8 w 80"/>
                  <a:gd name="T1" fmla="*/ 12 h 86"/>
                  <a:gd name="T2" fmla="*/ 4 w 80"/>
                  <a:gd name="T3" fmla="*/ 11 h 86"/>
                  <a:gd name="T4" fmla="*/ 0 w 80"/>
                  <a:gd name="T5" fmla="*/ 5 h 86"/>
                  <a:gd name="T6" fmla="*/ 15 w 80"/>
                  <a:gd name="T7" fmla="*/ 3 h 86"/>
                  <a:gd name="T8" fmla="*/ 23 w 80"/>
                  <a:gd name="T9" fmla="*/ 7 h 86"/>
                  <a:gd name="T10" fmla="*/ 23 w 80"/>
                  <a:gd name="T11" fmla="*/ 11 h 86"/>
                  <a:gd name="T12" fmla="*/ 26 w 80"/>
                  <a:gd name="T13" fmla="*/ 14 h 86"/>
                  <a:gd name="T14" fmla="*/ 34 w 80"/>
                  <a:gd name="T15" fmla="*/ 18 h 86"/>
                  <a:gd name="T16" fmla="*/ 47 w 80"/>
                  <a:gd name="T17" fmla="*/ 29 h 86"/>
                  <a:gd name="T18" fmla="*/ 51 w 80"/>
                  <a:gd name="T19" fmla="*/ 35 h 86"/>
                  <a:gd name="T20" fmla="*/ 56 w 80"/>
                  <a:gd name="T21" fmla="*/ 37 h 86"/>
                  <a:gd name="T22" fmla="*/ 60 w 80"/>
                  <a:gd name="T23" fmla="*/ 40 h 86"/>
                  <a:gd name="T24" fmla="*/ 60 w 80"/>
                  <a:gd name="T25" fmla="*/ 44 h 86"/>
                  <a:gd name="T26" fmla="*/ 64 w 80"/>
                  <a:gd name="T27" fmla="*/ 48 h 86"/>
                  <a:gd name="T28" fmla="*/ 69 w 80"/>
                  <a:gd name="T29" fmla="*/ 53 h 86"/>
                  <a:gd name="T30" fmla="*/ 73 w 80"/>
                  <a:gd name="T31" fmla="*/ 57 h 86"/>
                  <a:gd name="T32" fmla="*/ 77 w 80"/>
                  <a:gd name="T33" fmla="*/ 66 h 86"/>
                  <a:gd name="T34" fmla="*/ 79 w 80"/>
                  <a:gd name="T35" fmla="*/ 74 h 86"/>
                  <a:gd name="T36" fmla="*/ 80 w 80"/>
                  <a:gd name="T37" fmla="*/ 80 h 86"/>
                  <a:gd name="T38" fmla="*/ 71 w 80"/>
                  <a:gd name="T39" fmla="*/ 81 h 86"/>
                  <a:gd name="T40" fmla="*/ 64 w 80"/>
                  <a:gd name="T41" fmla="*/ 81 h 86"/>
                  <a:gd name="T42" fmla="*/ 64 w 80"/>
                  <a:gd name="T43" fmla="*/ 78 h 86"/>
                  <a:gd name="T44" fmla="*/ 60 w 80"/>
                  <a:gd name="T45" fmla="*/ 78 h 86"/>
                  <a:gd name="T46" fmla="*/ 51 w 80"/>
                  <a:gd name="T47" fmla="*/ 70 h 86"/>
                  <a:gd name="T48" fmla="*/ 52 w 80"/>
                  <a:gd name="T49" fmla="*/ 66 h 86"/>
                  <a:gd name="T50" fmla="*/ 51 w 80"/>
                  <a:gd name="T51" fmla="*/ 66 h 86"/>
                  <a:gd name="T52" fmla="*/ 49 w 80"/>
                  <a:gd name="T53" fmla="*/ 63 h 86"/>
                  <a:gd name="T54" fmla="*/ 45 w 80"/>
                  <a:gd name="T55" fmla="*/ 63 h 86"/>
                  <a:gd name="T56" fmla="*/ 38 w 80"/>
                  <a:gd name="T57" fmla="*/ 55 h 86"/>
                  <a:gd name="T58" fmla="*/ 34 w 80"/>
                  <a:gd name="T59" fmla="*/ 42 h 86"/>
                  <a:gd name="T60" fmla="*/ 32 w 80"/>
                  <a:gd name="T61" fmla="*/ 46 h 86"/>
                  <a:gd name="T62" fmla="*/ 28 w 80"/>
                  <a:gd name="T63" fmla="*/ 37 h 86"/>
                  <a:gd name="T64" fmla="*/ 24 w 80"/>
                  <a:gd name="T65" fmla="*/ 33 h 86"/>
                  <a:gd name="T66" fmla="*/ 21 w 80"/>
                  <a:gd name="T67" fmla="*/ 31 h 86"/>
                  <a:gd name="T68" fmla="*/ 19 w 80"/>
                  <a:gd name="T69" fmla="*/ 24 h 86"/>
                  <a:gd name="T70" fmla="*/ 13 w 80"/>
                  <a:gd name="T71" fmla="*/ 20 h 86"/>
                  <a:gd name="T72" fmla="*/ 10 w 80"/>
                  <a:gd name="T73" fmla="*/ 16 h 86"/>
                  <a:gd name="T74" fmla="*/ 8 w 80"/>
                  <a:gd name="T75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6">
                    <a:moveTo>
                      <a:pt x="8" y="12"/>
                    </a:moveTo>
                    <a:cubicBezTo>
                      <a:pt x="8" y="10"/>
                      <a:pt x="5" y="11"/>
                      <a:pt x="4" y="11"/>
                    </a:cubicBezTo>
                    <a:cubicBezTo>
                      <a:pt x="2" y="9"/>
                      <a:pt x="4" y="4"/>
                      <a:pt x="0" y="5"/>
                    </a:cubicBezTo>
                    <a:cubicBezTo>
                      <a:pt x="5" y="0"/>
                      <a:pt x="9" y="6"/>
                      <a:pt x="15" y="3"/>
                    </a:cubicBezTo>
                    <a:cubicBezTo>
                      <a:pt x="15" y="8"/>
                      <a:pt x="20" y="5"/>
                      <a:pt x="23" y="7"/>
                    </a:cubicBezTo>
                    <a:cubicBezTo>
                      <a:pt x="23" y="7"/>
                      <a:pt x="22" y="10"/>
                      <a:pt x="23" y="11"/>
                    </a:cubicBezTo>
                    <a:cubicBezTo>
                      <a:pt x="24" y="12"/>
                      <a:pt x="27" y="10"/>
                      <a:pt x="26" y="14"/>
                    </a:cubicBezTo>
                    <a:cubicBezTo>
                      <a:pt x="31" y="13"/>
                      <a:pt x="30" y="18"/>
                      <a:pt x="34" y="18"/>
                    </a:cubicBezTo>
                    <a:cubicBezTo>
                      <a:pt x="37" y="18"/>
                      <a:pt x="42" y="29"/>
                      <a:pt x="47" y="29"/>
                    </a:cubicBezTo>
                    <a:cubicBezTo>
                      <a:pt x="51" y="29"/>
                      <a:pt x="49" y="33"/>
                      <a:pt x="51" y="35"/>
                    </a:cubicBezTo>
                    <a:cubicBezTo>
                      <a:pt x="52" y="36"/>
                      <a:pt x="55" y="36"/>
                      <a:pt x="56" y="37"/>
                    </a:cubicBezTo>
                    <a:cubicBezTo>
                      <a:pt x="57" y="37"/>
                      <a:pt x="59" y="40"/>
                      <a:pt x="60" y="40"/>
                    </a:cubicBezTo>
                    <a:cubicBezTo>
                      <a:pt x="61" y="41"/>
                      <a:pt x="59" y="43"/>
                      <a:pt x="60" y="44"/>
                    </a:cubicBezTo>
                    <a:cubicBezTo>
                      <a:pt x="61" y="45"/>
                      <a:pt x="63" y="47"/>
                      <a:pt x="64" y="48"/>
                    </a:cubicBezTo>
                    <a:cubicBezTo>
                      <a:pt x="65" y="49"/>
                      <a:pt x="66" y="53"/>
                      <a:pt x="69" y="53"/>
                    </a:cubicBezTo>
                    <a:cubicBezTo>
                      <a:pt x="70" y="53"/>
                      <a:pt x="72" y="57"/>
                      <a:pt x="73" y="57"/>
                    </a:cubicBezTo>
                    <a:cubicBezTo>
                      <a:pt x="75" y="59"/>
                      <a:pt x="74" y="66"/>
                      <a:pt x="77" y="66"/>
                    </a:cubicBezTo>
                    <a:cubicBezTo>
                      <a:pt x="79" y="67"/>
                      <a:pt x="79" y="72"/>
                      <a:pt x="79" y="74"/>
                    </a:cubicBezTo>
                    <a:cubicBezTo>
                      <a:pt x="78" y="77"/>
                      <a:pt x="74" y="80"/>
                      <a:pt x="80" y="80"/>
                    </a:cubicBezTo>
                    <a:cubicBezTo>
                      <a:pt x="80" y="86"/>
                      <a:pt x="74" y="82"/>
                      <a:pt x="71" y="81"/>
                    </a:cubicBezTo>
                    <a:cubicBezTo>
                      <a:pt x="69" y="81"/>
                      <a:pt x="66" y="82"/>
                      <a:pt x="64" y="81"/>
                    </a:cubicBezTo>
                    <a:cubicBezTo>
                      <a:pt x="63" y="81"/>
                      <a:pt x="64" y="78"/>
                      <a:pt x="64" y="78"/>
                    </a:cubicBezTo>
                    <a:cubicBezTo>
                      <a:pt x="63" y="77"/>
                      <a:pt x="61" y="78"/>
                      <a:pt x="60" y="78"/>
                    </a:cubicBezTo>
                    <a:cubicBezTo>
                      <a:pt x="58" y="76"/>
                      <a:pt x="55" y="70"/>
                      <a:pt x="51" y="70"/>
                    </a:cubicBezTo>
                    <a:cubicBezTo>
                      <a:pt x="51" y="69"/>
                      <a:pt x="52" y="68"/>
                      <a:pt x="52" y="66"/>
                    </a:cubicBezTo>
                    <a:cubicBezTo>
                      <a:pt x="52" y="64"/>
                      <a:pt x="51" y="65"/>
                      <a:pt x="51" y="66"/>
                    </a:cubicBezTo>
                    <a:cubicBezTo>
                      <a:pt x="48" y="67"/>
                      <a:pt x="50" y="63"/>
                      <a:pt x="49" y="63"/>
                    </a:cubicBezTo>
                    <a:cubicBezTo>
                      <a:pt x="48" y="62"/>
                      <a:pt x="46" y="63"/>
                      <a:pt x="45" y="63"/>
                    </a:cubicBezTo>
                    <a:cubicBezTo>
                      <a:pt x="43" y="60"/>
                      <a:pt x="43" y="55"/>
                      <a:pt x="38" y="55"/>
                    </a:cubicBezTo>
                    <a:cubicBezTo>
                      <a:pt x="40" y="48"/>
                      <a:pt x="34" y="48"/>
                      <a:pt x="34" y="42"/>
                    </a:cubicBezTo>
                    <a:cubicBezTo>
                      <a:pt x="32" y="42"/>
                      <a:pt x="32" y="44"/>
                      <a:pt x="32" y="46"/>
                    </a:cubicBezTo>
                    <a:cubicBezTo>
                      <a:pt x="29" y="44"/>
                      <a:pt x="30" y="40"/>
                      <a:pt x="28" y="37"/>
                    </a:cubicBezTo>
                    <a:cubicBezTo>
                      <a:pt x="28" y="36"/>
                      <a:pt x="25" y="34"/>
                      <a:pt x="24" y="33"/>
                    </a:cubicBezTo>
                    <a:cubicBezTo>
                      <a:pt x="24" y="32"/>
                      <a:pt x="23" y="31"/>
                      <a:pt x="21" y="31"/>
                    </a:cubicBezTo>
                    <a:cubicBezTo>
                      <a:pt x="22" y="27"/>
                      <a:pt x="20" y="26"/>
                      <a:pt x="19" y="24"/>
                    </a:cubicBezTo>
                    <a:cubicBezTo>
                      <a:pt x="18" y="21"/>
                      <a:pt x="15" y="21"/>
                      <a:pt x="13" y="20"/>
                    </a:cubicBezTo>
                    <a:cubicBezTo>
                      <a:pt x="13" y="20"/>
                      <a:pt x="9" y="16"/>
                      <a:pt x="10" y="16"/>
                    </a:cubicBezTo>
                    <a:cubicBezTo>
                      <a:pt x="8" y="12"/>
                      <a:pt x="14" y="9"/>
                      <a:pt x="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B5A2E50-4BB7-4B68-9002-0D02C944277F}"/>
                  </a:ext>
                </a:extLst>
              </p:cNvPr>
              <p:cNvSpPr/>
              <p:nvPr/>
            </p:nvSpPr>
            <p:spPr bwMode="auto">
              <a:xfrm>
                <a:off x="6346564" y="2401194"/>
                <a:ext cx="119068" cy="217122"/>
              </a:xfrm>
              <a:custGeom>
                <a:avLst/>
                <a:gdLst>
                  <a:gd name="T0" fmla="*/ 43 w 57"/>
                  <a:gd name="T1" fmla="*/ 0 h 104"/>
                  <a:gd name="T2" fmla="*/ 50 w 57"/>
                  <a:gd name="T3" fmla="*/ 1 h 104"/>
                  <a:gd name="T4" fmla="*/ 47 w 57"/>
                  <a:gd name="T5" fmla="*/ 35 h 104"/>
                  <a:gd name="T6" fmla="*/ 43 w 57"/>
                  <a:gd name="T7" fmla="*/ 57 h 104"/>
                  <a:gd name="T8" fmla="*/ 37 w 57"/>
                  <a:gd name="T9" fmla="*/ 67 h 104"/>
                  <a:gd name="T10" fmla="*/ 36 w 57"/>
                  <a:gd name="T11" fmla="*/ 78 h 104"/>
                  <a:gd name="T12" fmla="*/ 36 w 57"/>
                  <a:gd name="T13" fmla="*/ 82 h 104"/>
                  <a:gd name="T14" fmla="*/ 32 w 57"/>
                  <a:gd name="T15" fmla="*/ 83 h 104"/>
                  <a:gd name="T16" fmla="*/ 30 w 57"/>
                  <a:gd name="T17" fmla="*/ 95 h 104"/>
                  <a:gd name="T18" fmla="*/ 28 w 57"/>
                  <a:gd name="T19" fmla="*/ 96 h 104"/>
                  <a:gd name="T20" fmla="*/ 26 w 57"/>
                  <a:gd name="T21" fmla="*/ 102 h 104"/>
                  <a:gd name="T22" fmla="*/ 8 w 57"/>
                  <a:gd name="T23" fmla="*/ 104 h 104"/>
                  <a:gd name="T24" fmla="*/ 6 w 57"/>
                  <a:gd name="T25" fmla="*/ 95 h 104"/>
                  <a:gd name="T26" fmla="*/ 4 w 57"/>
                  <a:gd name="T27" fmla="*/ 91 h 104"/>
                  <a:gd name="T28" fmla="*/ 0 w 57"/>
                  <a:gd name="T29" fmla="*/ 89 h 104"/>
                  <a:gd name="T30" fmla="*/ 0 w 57"/>
                  <a:gd name="T31" fmla="*/ 82 h 104"/>
                  <a:gd name="T32" fmla="*/ 2 w 57"/>
                  <a:gd name="T33" fmla="*/ 80 h 104"/>
                  <a:gd name="T34" fmla="*/ 0 w 57"/>
                  <a:gd name="T35" fmla="*/ 78 h 104"/>
                  <a:gd name="T36" fmla="*/ 4 w 57"/>
                  <a:gd name="T37" fmla="*/ 70 h 104"/>
                  <a:gd name="T38" fmla="*/ 4 w 57"/>
                  <a:gd name="T39" fmla="*/ 67 h 104"/>
                  <a:gd name="T40" fmla="*/ 8 w 57"/>
                  <a:gd name="T41" fmla="*/ 65 h 104"/>
                  <a:gd name="T42" fmla="*/ 11 w 57"/>
                  <a:gd name="T43" fmla="*/ 55 h 104"/>
                  <a:gd name="T44" fmla="*/ 8 w 57"/>
                  <a:gd name="T45" fmla="*/ 50 h 104"/>
                  <a:gd name="T46" fmla="*/ 8 w 57"/>
                  <a:gd name="T47" fmla="*/ 39 h 104"/>
                  <a:gd name="T48" fmla="*/ 11 w 57"/>
                  <a:gd name="T49" fmla="*/ 35 h 104"/>
                  <a:gd name="T50" fmla="*/ 17 w 57"/>
                  <a:gd name="T51" fmla="*/ 31 h 104"/>
                  <a:gd name="T52" fmla="*/ 26 w 57"/>
                  <a:gd name="T53" fmla="*/ 24 h 104"/>
                  <a:gd name="T54" fmla="*/ 32 w 57"/>
                  <a:gd name="T55" fmla="*/ 26 h 104"/>
                  <a:gd name="T56" fmla="*/ 34 w 57"/>
                  <a:gd name="T57" fmla="*/ 14 h 104"/>
                  <a:gd name="T58" fmla="*/ 39 w 57"/>
                  <a:gd name="T59" fmla="*/ 13 h 104"/>
                  <a:gd name="T60" fmla="*/ 43 w 57"/>
                  <a:gd name="T6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7" h="104">
                    <a:moveTo>
                      <a:pt x="43" y="0"/>
                    </a:moveTo>
                    <a:cubicBezTo>
                      <a:pt x="45" y="1"/>
                      <a:pt x="47" y="2"/>
                      <a:pt x="50" y="1"/>
                    </a:cubicBezTo>
                    <a:cubicBezTo>
                      <a:pt x="47" y="11"/>
                      <a:pt x="57" y="28"/>
                      <a:pt x="47" y="35"/>
                    </a:cubicBezTo>
                    <a:cubicBezTo>
                      <a:pt x="47" y="43"/>
                      <a:pt x="46" y="50"/>
                      <a:pt x="43" y="57"/>
                    </a:cubicBezTo>
                    <a:cubicBezTo>
                      <a:pt x="42" y="61"/>
                      <a:pt x="41" y="66"/>
                      <a:pt x="37" y="67"/>
                    </a:cubicBezTo>
                    <a:cubicBezTo>
                      <a:pt x="39" y="71"/>
                      <a:pt x="36" y="75"/>
                      <a:pt x="36" y="78"/>
                    </a:cubicBezTo>
                    <a:cubicBezTo>
                      <a:pt x="35" y="79"/>
                      <a:pt x="36" y="81"/>
                      <a:pt x="36" y="82"/>
                    </a:cubicBezTo>
                    <a:cubicBezTo>
                      <a:pt x="35" y="82"/>
                      <a:pt x="32" y="83"/>
                      <a:pt x="32" y="83"/>
                    </a:cubicBezTo>
                    <a:cubicBezTo>
                      <a:pt x="31" y="87"/>
                      <a:pt x="32" y="91"/>
                      <a:pt x="30" y="95"/>
                    </a:cubicBezTo>
                    <a:cubicBezTo>
                      <a:pt x="30" y="95"/>
                      <a:pt x="28" y="95"/>
                      <a:pt x="28" y="96"/>
                    </a:cubicBezTo>
                    <a:cubicBezTo>
                      <a:pt x="28" y="98"/>
                      <a:pt x="25" y="99"/>
                      <a:pt x="26" y="102"/>
                    </a:cubicBezTo>
                    <a:cubicBezTo>
                      <a:pt x="21" y="104"/>
                      <a:pt x="15" y="104"/>
                      <a:pt x="8" y="104"/>
                    </a:cubicBezTo>
                    <a:cubicBezTo>
                      <a:pt x="8" y="99"/>
                      <a:pt x="4" y="100"/>
                      <a:pt x="6" y="95"/>
                    </a:cubicBezTo>
                    <a:cubicBezTo>
                      <a:pt x="4" y="95"/>
                      <a:pt x="4" y="92"/>
                      <a:pt x="4" y="91"/>
                    </a:cubicBezTo>
                    <a:cubicBezTo>
                      <a:pt x="2" y="91"/>
                      <a:pt x="1" y="90"/>
                      <a:pt x="0" y="89"/>
                    </a:cubicBezTo>
                    <a:cubicBezTo>
                      <a:pt x="0" y="87"/>
                      <a:pt x="0" y="84"/>
                      <a:pt x="0" y="82"/>
                    </a:cubicBezTo>
                    <a:cubicBezTo>
                      <a:pt x="0" y="80"/>
                      <a:pt x="2" y="80"/>
                      <a:pt x="2" y="80"/>
                    </a:cubicBezTo>
                    <a:cubicBezTo>
                      <a:pt x="2" y="78"/>
                      <a:pt x="0" y="78"/>
                      <a:pt x="0" y="78"/>
                    </a:cubicBezTo>
                    <a:cubicBezTo>
                      <a:pt x="1" y="75"/>
                      <a:pt x="3" y="72"/>
                      <a:pt x="4" y="70"/>
                    </a:cubicBezTo>
                    <a:cubicBezTo>
                      <a:pt x="4" y="70"/>
                      <a:pt x="3" y="67"/>
                      <a:pt x="4" y="67"/>
                    </a:cubicBezTo>
                    <a:cubicBezTo>
                      <a:pt x="4" y="66"/>
                      <a:pt x="8" y="65"/>
                      <a:pt x="8" y="65"/>
                    </a:cubicBezTo>
                    <a:cubicBezTo>
                      <a:pt x="9" y="62"/>
                      <a:pt x="5" y="49"/>
                      <a:pt x="11" y="55"/>
                    </a:cubicBezTo>
                    <a:cubicBezTo>
                      <a:pt x="12" y="51"/>
                      <a:pt x="8" y="53"/>
                      <a:pt x="8" y="50"/>
                    </a:cubicBezTo>
                    <a:cubicBezTo>
                      <a:pt x="8" y="46"/>
                      <a:pt x="8" y="42"/>
                      <a:pt x="8" y="39"/>
                    </a:cubicBezTo>
                    <a:cubicBezTo>
                      <a:pt x="11" y="39"/>
                      <a:pt x="11" y="37"/>
                      <a:pt x="11" y="35"/>
                    </a:cubicBezTo>
                    <a:cubicBezTo>
                      <a:pt x="15" y="36"/>
                      <a:pt x="15" y="32"/>
                      <a:pt x="17" y="31"/>
                    </a:cubicBezTo>
                    <a:cubicBezTo>
                      <a:pt x="19" y="30"/>
                      <a:pt x="27" y="31"/>
                      <a:pt x="26" y="24"/>
                    </a:cubicBezTo>
                    <a:cubicBezTo>
                      <a:pt x="29" y="23"/>
                      <a:pt x="29" y="26"/>
                      <a:pt x="32" y="26"/>
                    </a:cubicBezTo>
                    <a:cubicBezTo>
                      <a:pt x="30" y="20"/>
                      <a:pt x="34" y="19"/>
                      <a:pt x="34" y="14"/>
                    </a:cubicBezTo>
                    <a:cubicBezTo>
                      <a:pt x="39" y="17"/>
                      <a:pt x="38" y="2"/>
                      <a:pt x="39" y="13"/>
                    </a:cubicBezTo>
                    <a:cubicBezTo>
                      <a:pt x="46" y="10"/>
                      <a:pt x="40" y="2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C7CDAE02-59FD-4AA1-9E8D-ABBEC616BA73}"/>
                  </a:ext>
                </a:extLst>
              </p:cNvPr>
              <p:cNvSpPr/>
              <p:nvPr/>
            </p:nvSpPr>
            <p:spPr bwMode="auto">
              <a:xfrm>
                <a:off x="7448976" y="2389989"/>
                <a:ext cx="638757" cy="469263"/>
              </a:xfrm>
              <a:custGeom>
                <a:avLst/>
                <a:gdLst>
                  <a:gd name="T0" fmla="*/ 178 w 307"/>
                  <a:gd name="T1" fmla="*/ 19 h 226"/>
                  <a:gd name="T2" fmla="*/ 171 w 307"/>
                  <a:gd name="T3" fmla="*/ 22 h 226"/>
                  <a:gd name="T4" fmla="*/ 180 w 307"/>
                  <a:gd name="T5" fmla="*/ 34 h 226"/>
                  <a:gd name="T6" fmla="*/ 206 w 307"/>
                  <a:gd name="T7" fmla="*/ 48 h 226"/>
                  <a:gd name="T8" fmla="*/ 214 w 307"/>
                  <a:gd name="T9" fmla="*/ 37 h 226"/>
                  <a:gd name="T10" fmla="*/ 216 w 307"/>
                  <a:gd name="T11" fmla="*/ 30 h 226"/>
                  <a:gd name="T12" fmla="*/ 218 w 307"/>
                  <a:gd name="T13" fmla="*/ 13 h 226"/>
                  <a:gd name="T14" fmla="*/ 223 w 307"/>
                  <a:gd name="T15" fmla="*/ 4 h 226"/>
                  <a:gd name="T16" fmla="*/ 229 w 307"/>
                  <a:gd name="T17" fmla="*/ 11 h 226"/>
                  <a:gd name="T18" fmla="*/ 238 w 307"/>
                  <a:gd name="T19" fmla="*/ 30 h 226"/>
                  <a:gd name="T20" fmla="*/ 247 w 307"/>
                  <a:gd name="T21" fmla="*/ 43 h 226"/>
                  <a:gd name="T22" fmla="*/ 257 w 307"/>
                  <a:gd name="T23" fmla="*/ 56 h 226"/>
                  <a:gd name="T24" fmla="*/ 262 w 307"/>
                  <a:gd name="T25" fmla="*/ 71 h 226"/>
                  <a:gd name="T26" fmla="*/ 268 w 307"/>
                  <a:gd name="T27" fmla="*/ 75 h 226"/>
                  <a:gd name="T28" fmla="*/ 279 w 307"/>
                  <a:gd name="T29" fmla="*/ 82 h 226"/>
                  <a:gd name="T30" fmla="*/ 288 w 307"/>
                  <a:gd name="T31" fmla="*/ 101 h 226"/>
                  <a:gd name="T32" fmla="*/ 292 w 307"/>
                  <a:gd name="T33" fmla="*/ 104 h 226"/>
                  <a:gd name="T34" fmla="*/ 303 w 307"/>
                  <a:gd name="T35" fmla="*/ 112 h 226"/>
                  <a:gd name="T36" fmla="*/ 307 w 307"/>
                  <a:gd name="T37" fmla="*/ 143 h 226"/>
                  <a:gd name="T38" fmla="*/ 301 w 307"/>
                  <a:gd name="T39" fmla="*/ 158 h 226"/>
                  <a:gd name="T40" fmla="*/ 301 w 307"/>
                  <a:gd name="T41" fmla="*/ 164 h 226"/>
                  <a:gd name="T42" fmla="*/ 298 w 307"/>
                  <a:gd name="T43" fmla="*/ 175 h 226"/>
                  <a:gd name="T44" fmla="*/ 287 w 307"/>
                  <a:gd name="T45" fmla="*/ 185 h 226"/>
                  <a:gd name="T46" fmla="*/ 277 w 307"/>
                  <a:gd name="T47" fmla="*/ 212 h 226"/>
                  <a:gd name="T48" fmla="*/ 260 w 307"/>
                  <a:gd name="T49" fmla="*/ 220 h 226"/>
                  <a:gd name="T50" fmla="*/ 253 w 307"/>
                  <a:gd name="T51" fmla="*/ 226 h 226"/>
                  <a:gd name="T52" fmla="*/ 238 w 307"/>
                  <a:gd name="T53" fmla="*/ 222 h 226"/>
                  <a:gd name="T54" fmla="*/ 205 w 307"/>
                  <a:gd name="T55" fmla="*/ 216 h 226"/>
                  <a:gd name="T56" fmla="*/ 203 w 307"/>
                  <a:gd name="T57" fmla="*/ 205 h 226"/>
                  <a:gd name="T58" fmla="*/ 201 w 307"/>
                  <a:gd name="T59" fmla="*/ 199 h 226"/>
                  <a:gd name="T60" fmla="*/ 186 w 307"/>
                  <a:gd name="T61" fmla="*/ 188 h 226"/>
                  <a:gd name="T62" fmla="*/ 178 w 307"/>
                  <a:gd name="T63" fmla="*/ 179 h 226"/>
                  <a:gd name="T64" fmla="*/ 164 w 307"/>
                  <a:gd name="T65" fmla="*/ 173 h 226"/>
                  <a:gd name="T66" fmla="*/ 156 w 307"/>
                  <a:gd name="T67" fmla="*/ 170 h 226"/>
                  <a:gd name="T68" fmla="*/ 121 w 307"/>
                  <a:gd name="T69" fmla="*/ 162 h 226"/>
                  <a:gd name="T70" fmla="*/ 102 w 307"/>
                  <a:gd name="T71" fmla="*/ 168 h 226"/>
                  <a:gd name="T72" fmla="*/ 95 w 307"/>
                  <a:gd name="T73" fmla="*/ 171 h 226"/>
                  <a:gd name="T74" fmla="*/ 89 w 307"/>
                  <a:gd name="T75" fmla="*/ 177 h 226"/>
                  <a:gd name="T76" fmla="*/ 85 w 307"/>
                  <a:gd name="T77" fmla="*/ 177 h 226"/>
                  <a:gd name="T78" fmla="*/ 52 w 307"/>
                  <a:gd name="T79" fmla="*/ 183 h 226"/>
                  <a:gd name="T80" fmla="*/ 46 w 307"/>
                  <a:gd name="T81" fmla="*/ 186 h 226"/>
                  <a:gd name="T82" fmla="*/ 14 w 307"/>
                  <a:gd name="T83" fmla="*/ 192 h 226"/>
                  <a:gd name="T84" fmla="*/ 18 w 307"/>
                  <a:gd name="T85" fmla="*/ 171 h 226"/>
                  <a:gd name="T86" fmla="*/ 14 w 307"/>
                  <a:gd name="T87" fmla="*/ 160 h 226"/>
                  <a:gd name="T88" fmla="*/ 14 w 307"/>
                  <a:gd name="T89" fmla="*/ 153 h 226"/>
                  <a:gd name="T90" fmla="*/ 9 w 307"/>
                  <a:gd name="T91" fmla="*/ 142 h 226"/>
                  <a:gd name="T92" fmla="*/ 7 w 307"/>
                  <a:gd name="T93" fmla="*/ 132 h 226"/>
                  <a:gd name="T94" fmla="*/ 3 w 307"/>
                  <a:gd name="T95" fmla="*/ 121 h 226"/>
                  <a:gd name="T96" fmla="*/ 5 w 307"/>
                  <a:gd name="T97" fmla="*/ 112 h 226"/>
                  <a:gd name="T98" fmla="*/ 5 w 307"/>
                  <a:gd name="T99" fmla="*/ 88 h 226"/>
                  <a:gd name="T100" fmla="*/ 26 w 307"/>
                  <a:gd name="T101" fmla="*/ 75 h 226"/>
                  <a:gd name="T102" fmla="*/ 50 w 307"/>
                  <a:gd name="T103" fmla="*/ 69 h 226"/>
                  <a:gd name="T104" fmla="*/ 63 w 307"/>
                  <a:gd name="T105" fmla="*/ 63 h 226"/>
                  <a:gd name="T106" fmla="*/ 68 w 307"/>
                  <a:gd name="T107" fmla="*/ 43 h 226"/>
                  <a:gd name="T108" fmla="*/ 85 w 307"/>
                  <a:gd name="T109" fmla="*/ 43 h 226"/>
                  <a:gd name="T110" fmla="*/ 89 w 307"/>
                  <a:gd name="T111" fmla="*/ 30 h 226"/>
                  <a:gd name="T112" fmla="*/ 104 w 307"/>
                  <a:gd name="T113" fmla="*/ 20 h 226"/>
                  <a:gd name="T114" fmla="*/ 115 w 307"/>
                  <a:gd name="T115" fmla="*/ 26 h 226"/>
                  <a:gd name="T116" fmla="*/ 119 w 307"/>
                  <a:gd name="T117" fmla="*/ 28 h 226"/>
                  <a:gd name="T118" fmla="*/ 123 w 307"/>
                  <a:gd name="T119" fmla="*/ 24 h 226"/>
                  <a:gd name="T120" fmla="*/ 136 w 307"/>
                  <a:gd name="T121" fmla="*/ 13 h 226"/>
                  <a:gd name="T122" fmla="*/ 145 w 307"/>
                  <a:gd name="T123" fmla="*/ 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7" h="226">
                    <a:moveTo>
                      <a:pt x="178" y="9"/>
                    </a:moveTo>
                    <a:cubicBezTo>
                      <a:pt x="178" y="12"/>
                      <a:pt x="178" y="16"/>
                      <a:pt x="178" y="19"/>
                    </a:cubicBezTo>
                    <a:cubicBezTo>
                      <a:pt x="177" y="19"/>
                      <a:pt x="175" y="19"/>
                      <a:pt x="173" y="19"/>
                    </a:cubicBezTo>
                    <a:cubicBezTo>
                      <a:pt x="175" y="21"/>
                      <a:pt x="174" y="22"/>
                      <a:pt x="171" y="22"/>
                    </a:cubicBezTo>
                    <a:cubicBezTo>
                      <a:pt x="174" y="26"/>
                      <a:pt x="171" y="25"/>
                      <a:pt x="171" y="30"/>
                    </a:cubicBezTo>
                    <a:cubicBezTo>
                      <a:pt x="173" y="33"/>
                      <a:pt x="176" y="34"/>
                      <a:pt x="180" y="34"/>
                    </a:cubicBezTo>
                    <a:cubicBezTo>
                      <a:pt x="181" y="42"/>
                      <a:pt x="193" y="38"/>
                      <a:pt x="193" y="47"/>
                    </a:cubicBezTo>
                    <a:cubicBezTo>
                      <a:pt x="198" y="47"/>
                      <a:pt x="204" y="46"/>
                      <a:pt x="206" y="48"/>
                    </a:cubicBezTo>
                    <a:cubicBezTo>
                      <a:pt x="210" y="48"/>
                      <a:pt x="207" y="40"/>
                      <a:pt x="214" y="43"/>
                    </a:cubicBezTo>
                    <a:cubicBezTo>
                      <a:pt x="213" y="42"/>
                      <a:pt x="211" y="37"/>
                      <a:pt x="214" y="37"/>
                    </a:cubicBezTo>
                    <a:cubicBezTo>
                      <a:pt x="216" y="37"/>
                      <a:pt x="213" y="34"/>
                      <a:pt x="214" y="32"/>
                    </a:cubicBezTo>
                    <a:cubicBezTo>
                      <a:pt x="214" y="32"/>
                      <a:pt x="216" y="31"/>
                      <a:pt x="216" y="30"/>
                    </a:cubicBezTo>
                    <a:cubicBezTo>
                      <a:pt x="216" y="28"/>
                      <a:pt x="218" y="26"/>
                      <a:pt x="218" y="22"/>
                    </a:cubicBezTo>
                    <a:cubicBezTo>
                      <a:pt x="217" y="21"/>
                      <a:pt x="215" y="19"/>
                      <a:pt x="218" y="13"/>
                    </a:cubicBezTo>
                    <a:cubicBezTo>
                      <a:pt x="218" y="13"/>
                      <a:pt x="221" y="13"/>
                      <a:pt x="221" y="13"/>
                    </a:cubicBezTo>
                    <a:cubicBezTo>
                      <a:pt x="223" y="11"/>
                      <a:pt x="221" y="5"/>
                      <a:pt x="223" y="4"/>
                    </a:cubicBezTo>
                    <a:cubicBezTo>
                      <a:pt x="227" y="3"/>
                      <a:pt x="224" y="9"/>
                      <a:pt x="227" y="11"/>
                    </a:cubicBezTo>
                    <a:cubicBezTo>
                      <a:pt x="227" y="11"/>
                      <a:pt x="229" y="11"/>
                      <a:pt x="229" y="11"/>
                    </a:cubicBezTo>
                    <a:cubicBezTo>
                      <a:pt x="230" y="14"/>
                      <a:pt x="231" y="18"/>
                      <a:pt x="232" y="20"/>
                    </a:cubicBezTo>
                    <a:cubicBezTo>
                      <a:pt x="234" y="24"/>
                      <a:pt x="238" y="26"/>
                      <a:pt x="238" y="30"/>
                    </a:cubicBezTo>
                    <a:cubicBezTo>
                      <a:pt x="243" y="25"/>
                      <a:pt x="240" y="33"/>
                      <a:pt x="246" y="32"/>
                    </a:cubicBezTo>
                    <a:cubicBezTo>
                      <a:pt x="245" y="36"/>
                      <a:pt x="245" y="40"/>
                      <a:pt x="247" y="43"/>
                    </a:cubicBezTo>
                    <a:cubicBezTo>
                      <a:pt x="250" y="46"/>
                      <a:pt x="247" y="50"/>
                      <a:pt x="249" y="56"/>
                    </a:cubicBezTo>
                    <a:cubicBezTo>
                      <a:pt x="254" y="50"/>
                      <a:pt x="250" y="55"/>
                      <a:pt x="257" y="56"/>
                    </a:cubicBezTo>
                    <a:cubicBezTo>
                      <a:pt x="257" y="59"/>
                      <a:pt x="255" y="59"/>
                      <a:pt x="255" y="61"/>
                    </a:cubicBezTo>
                    <a:cubicBezTo>
                      <a:pt x="258" y="64"/>
                      <a:pt x="263" y="64"/>
                      <a:pt x="262" y="71"/>
                    </a:cubicBezTo>
                    <a:cubicBezTo>
                      <a:pt x="264" y="71"/>
                      <a:pt x="267" y="70"/>
                      <a:pt x="268" y="71"/>
                    </a:cubicBezTo>
                    <a:cubicBezTo>
                      <a:pt x="268" y="71"/>
                      <a:pt x="267" y="74"/>
                      <a:pt x="268" y="75"/>
                    </a:cubicBezTo>
                    <a:cubicBezTo>
                      <a:pt x="268" y="75"/>
                      <a:pt x="271" y="74"/>
                      <a:pt x="272" y="75"/>
                    </a:cubicBezTo>
                    <a:cubicBezTo>
                      <a:pt x="274" y="77"/>
                      <a:pt x="273" y="83"/>
                      <a:pt x="279" y="82"/>
                    </a:cubicBezTo>
                    <a:cubicBezTo>
                      <a:pt x="279" y="87"/>
                      <a:pt x="282" y="92"/>
                      <a:pt x="285" y="95"/>
                    </a:cubicBezTo>
                    <a:cubicBezTo>
                      <a:pt x="286" y="97"/>
                      <a:pt x="287" y="99"/>
                      <a:pt x="288" y="101"/>
                    </a:cubicBezTo>
                    <a:cubicBezTo>
                      <a:pt x="289" y="101"/>
                      <a:pt x="291" y="100"/>
                      <a:pt x="292" y="101"/>
                    </a:cubicBezTo>
                    <a:cubicBezTo>
                      <a:pt x="293" y="101"/>
                      <a:pt x="291" y="104"/>
                      <a:pt x="292" y="104"/>
                    </a:cubicBezTo>
                    <a:cubicBezTo>
                      <a:pt x="294" y="106"/>
                      <a:pt x="297" y="105"/>
                      <a:pt x="296" y="104"/>
                    </a:cubicBezTo>
                    <a:cubicBezTo>
                      <a:pt x="300" y="108"/>
                      <a:pt x="297" y="113"/>
                      <a:pt x="303" y="112"/>
                    </a:cubicBezTo>
                    <a:cubicBezTo>
                      <a:pt x="299" y="117"/>
                      <a:pt x="304" y="124"/>
                      <a:pt x="305" y="132"/>
                    </a:cubicBezTo>
                    <a:cubicBezTo>
                      <a:pt x="306" y="137"/>
                      <a:pt x="303" y="141"/>
                      <a:pt x="307" y="143"/>
                    </a:cubicBezTo>
                    <a:cubicBezTo>
                      <a:pt x="303" y="146"/>
                      <a:pt x="304" y="149"/>
                      <a:pt x="303" y="157"/>
                    </a:cubicBezTo>
                    <a:cubicBezTo>
                      <a:pt x="303" y="156"/>
                      <a:pt x="300" y="157"/>
                      <a:pt x="301" y="158"/>
                    </a:cubicBezTo>
                    <a:cubicBezTo>
                      <a:pt x="302" y="158"/>
                      <a:pt x="303" y="158"/>
                      <a:pt x="303" y="158"/>
                    </a:cubicBezTo>
                    <a:cubicBezTo>
                      <a:pt x="303" y="159"/>
                      <a:pt x="302" y="163"/>
                      <a:pt x="301" y="164"/>
                    </a:cubicBezTo>
                    <a:cubicBezTo>
                      <a:pt x="301" y="164"/>
                      <a:pt x="298" y="166"/>
                      <a:pt x="298" y="166"/>
                    </a:cubicBezTo>
                    <a:cubicBezTo>
                      <a:pt x="297" y="168"/>
                      <a:pt x="301" y="171"/>
                      <a:pt x="298" y="175"/>
                    </a:cubicBezTo>
                    <a:cubicBezTo>
                      <a:pt x="294" y="175"/>
                      <a:pt x="295" y="180"/>
                      <a:pt x="290" y="179"/>
                    </a:cubicBezTo>
                    <a:cubicBezTo>
                      <a:pt x="291" y="183"/>
                      <a:pt x="290" y="185"/>
                      <a:pt x="287" y="185"/>
                    </a:cubicBezTo>
                    <a:cubicBezTo>
                      <a:pt x="288" y="192"/>
                      <a:pt x="284" y="194"/>
                      <a:pt x="285" y="201"/>
                    </a:cubicBezTo>
                    <a:cubicBezTo>
                      <a:pt x="277" y="200"/>
                      <a:pt x="278" y="207"/>
                      <a:pt x="277" y="212"/>
                    </a:cubicBezTo>
                    <a:cubicBezTo>
                      <a:pt x="275" y="212"/>
                      <a:pt x="272" y="212"/>
                      <a:pt x="272" y="214"/>
                    </a:cubicBezTo>
                    <a:cubicBezTo>
                      <a:pt x="271" y="218"/>
                      <a:pt x="264" y="218"/>
                      <a:pt x="260" y="220"/>
                    </a:cubicBezTo>
                    <a:cubicBezTo>
                      <a:pt x="259" y="221"/>
                      <a:pt x="258" y="223"/>
                      <a:pt x="257" y="224"/>
                    </a:cubicBezTo>
                    <a:cubicBezTo>
                      <a:pt x="255" y="224"/>
                      <a:pt x="253" y="223"/>
                      <a:pt x="253" y="226"/>
                    </a:cubicBezTo>
                    <a:cubicBezTo>
                      <a:pt x="249" y="223"/>
                      <a:pt x="247" y="219"/>
                      <a:pt x="242" y="218"/>
                    </a:cubicBezTo>
                    <a:cubicBezTo>
                      <a:pt x="238" y="216"/>
                      <a:pt x="239" y="221"/>
                      <a:pt x="238" y="222"/>
                    </a:cubicBezTo>
                    <a:cubicBezTo>
                      <a:pt x="234" y="224"/>
                      <a:pt x="228" y="221"/>
                      <a:pt x="225" y="226"/>
                    </a:cubicBezTo>
                    <a:cubicBezTo>
                      <a:pt x="218" y="222"/>
                      <a:pt x="213" y="217"/>
                      <a:pt x="205" y="216"/>
                    </a:cubicBezTo>
                    <a:cubicBezTo>
                      <a:pt x="207" y="214"/>
                      <a:pt x="207" y="212"/>
                      <a:pt x="205" y="207"/>
                    </a:cubicBezTo>
                    <a:cubicBezTo>
                      <a:pt x="204" y="206"/>
                      <a:pt x="203" y="207"/>
                      <a:pt x="203" y="205"/>
                    </a:cubicBezTo>
                    <a:cubicBezTo>
                      <a:pt x="203" y="205"/>
                      <a:pt x="203" y="203"/>
                      <a:pt x="203" y="203"/>
                    </a:cubicBezTo>
                    <a:cubicBezTo>
                      <a:pt x="202" y="201"/>
                      <a:pt x="197" y="200"/>
                      <a:pt x="201" y="199"/>
                    </a:cubicBezTo>
                    <a:cubicBezTo>
                      <a:pt x="200" y="198"/>
                      <a:pt x="192" y="194"/>
                      <a:pt x="191" y="198"/>
                    </a:cubicBezTo>
                    <a:cubicBezTo>
                      <a:pt x="189" y="195"/>
                      <a:pt x="189" y="190"/>
                      <a:pt x="186" y="188"/>
                    </a:cubicBezTo>
                    <a:cubicBezTo>
                      <a:pt x="185" y="184"/>
                      <a:pt x="187" y="183"/>
                      <a:pt x="188" y="181"/>
                    </a:cubicBezTo>
                    <a:cubicBezTo>
                      <a:pt x="186" y="179"/>
                      <a:pt x="184" y="180"/>
                      <a:pt x="178" y="179"/>
                    </a:cubicBezTo>
                    <a:cubicBezTo>
                      <a:pt x="175" y="181"/>
                      <a:pt x="175" y="188"/>
                      <a:pt x="167" y="186"/>
                    </a:cubicBezTo>
                    <a:cubicBezTo>
                      <a:pt x="169" y="179"/>
                      <a:pt x="162" y="181"/>
                      <a:pt x="164" y="173"/>
                    </a:cubicBezTo>
                    <a:cubicBezTo>
                      <a:pt x="159" y="173"/>
                      <a:pt x="158" y="170"/>
                      <a:pt x="152" y="171"/>
                    </a:cubicBezTo>
                    <a:cubicBezTo>
                      <a:pt x="152" y="170"/>
                      <a:pt x="155" y="170"/>
                      <a:pt x="156" y="170"/>
                    </a:cubicBezTo>
                    <a:cubicBezTo>
                      <a:pt x="151" y="164"/>
                      <a:pt x="147" y="169"/>
                      <a:pt x="137" y="168"/>
                    </a:cubicBezTo>
                    <a:cubicBezTo>
                      <a:pt x="131" y="166"/>
                      <a:pt x="126" y="164"/>
                      <a:pt x="121" y="162"/>
                    </a:cubicBezTo>
                    <a:cubicBezTo>
                      <a:pt x="116" y="164"/>
                      <a:pt x="111" y="163"/>
                      <a:pt x="109" y="168"/>
                    </a:cubicBezTo>
                    <a:cubicBezTo>
                      <a:pt x="107" y="168"/>
                      <a:pt x="104" y="167"/>
                      <a:pt x="102" y="168"/>
                    </a:cubicBezTo>
                    <a:cubicBezTo>
                      <a:pt x="100" y="168"/>
                      <a:pt x="101" y="169"/>
                      <a:pt x="100" y="170"/>
                    </a:cubicBezTo>
                    <a:cubicBezTo>
                      <a:pt x="97" y="170"/>
                      <a:pt x="98" y="166"/>
                      <a:pt x="95" y="171"/>
                    </a:cubicBezTo>
                    <a:cubicBezTo>
                      <a:pt x="94" y="172"/>
                      <a:pt x="92" y="173"/>
                      <a:pt x="93" y="175"/>
                    </a:cubicBezTo>
                    <a:cubicBezTo>
                      <a:pt x="90" y="173"/>
                      <a:pt x="89" y="169"/>
                      <a:pt x="89" y="177"/>
                    </a:cubicBezTo>
                    <a:cubicBezTo>
                      <a:pt x="87" y="177"/>
                      <a:pt x="87" y="175"/>
                      <a:pt x="85" y="175"/>
                    </a:cubicBezTo>
                    <a:cubicBezTo>
                      <a:pt x="83" y="175"/>
                      <a:pt x="85" y="177"/>
                      <a:pt x="85" y="177"/>
                    </a:cubicBezTo>
                    <a:cubicBezTo>
                      <a:pt x="83" y="181"/>
                      <a:pt x="77" y="179"/>
                      <a:pt x="76" y="185"/>
                    </a:cubicBezTo>
                    <a:cubicBezTo>
                      <a:pt x="71" y="181"/>
                      <a:pt x="60" y="183"/>
                      <a:pt x="52" y="183"/>
                    </a:cubicBezTo>
                    <a:cubicBezTo>
                      <a:pt x="49" y="182"/>
                      <a:pt x="51" y="186"/>
                      <a:pt x="50" y="186"/>
                    </a:cubicBezTo>
                    <a:cubicBezTo>
                      <a:pt x="49" y="187"/>
                      <a:pt x="47" y="186"/>
                      <a:pt x="46" y="186"/>
                    </a:cubicBezTo>
                    <a:cubicBezTo>
                      <a:pt x="44" y="187"/>
                      <a:pt x="43" y="188"/>
                      <a:pt x="40" y="188"/>
                    </a:cubicBezTo>
                    <a:cubicBezTo>
                      <a:pt x="35" y="190"/>
                      <a:pt x="26" y="194"/>
                      <a:pt x="14" y="192"/>
                    </a:cubicBezTo>
                    <a:cubicBezTo>
                      <a:pt x="15" y="187"/>
                      <a:pt x="14" y="181"/>
                      <a:pt x="20" y="181"/>
                    </a:cubicBezTo>
                    <a:cubicBezTo>
                      <a:pt x="19" y="178"/>
                      <a:pt x="22" y="172"/>
                      <a:pt x="18" y="171"/>
                    </a:cubicBezTo>
                    <a:cubicBezTo>
                      <a:pt x="13" y="171"/>
                      <a:pt x="20" y="170"/>
                      <a:pt x="18" y="164"/>
                    </a:cubicBezTo>
                    <a:cubicBezTo>
                      <a:pt x="16" y="159"/>
                      <a:pt x="16" y="168"/>
                      <a:pt x="14" y="160"/>
                    </a:cubicBezTo>
                    <a:cubicBezTo>
                      <a:pt x="14" y="160"/>
                      <a:pt x="15" y="157"/>
                      <a:pt x="14" y="157"/>
                    </a:cubicBezTo>
                    <a:cubicBezTo>
                      <a:pt x="12" y="154"/>
                      <a:pt x="15" y="156"/>
                      <a:pt x="14" y="153"/>
                    </a:cubicBezTo>
                    <a:cubicBezTo>
                      <a:pt x="14" y="149"/>
                      <a:pt x="10" y="146"/>
                      <a:pt x="13" y="143"/>
                    </a:cubicBezTo>
                    <a:cubicBezTo>
                      <a:pt x="13" y="141"/>
                      <a:pt x="10" y="143"/>
                      <a:pt x="9" y="142"/>
                    </a:cubicBezTo>
                    <a:cubicBezTo>
                      <a:pt x="8" y="141"/>
                      <a:pt x="9" y="139"/>
                      <a:pt x="9" y="138"/>
                    </a:cubicBezTo>
                    <a:cubicBezTo>
                      <a:pt x="9" y="138"/>
                      <a:pt x="7" y="132"/>
                      <a:pt x="7" y="132"/>
                    </a:cubicBezTo>
                    <a:cubicBezTo>
                      <a:pt x="4" y="130"/>
                      <a:pt x="8" y="131"/>
                      <a:pt x="7" y="129"/>
                    </a:cubicBezTo>
                    <a:cubicBezTo>
                      <a:pt x="6" y="126"/>
                      <a:pt x="2" y="125"/>
                      <a:pt x="3" y="121"/>
                    </a:cubicBezTo>
                    <a:cubicBezTo>
                      <a:pt x="8" y="122"/>
                      <a:pt x="5" y="114"/>
                      <a:pt x="9" y="114"/>
                    </a:cubicBezTo>
                    <a:cubicBezTo>
                      <a:pt x="9" y="111"/>
                      <a:pt x="6" y="113"/>
                      <a:pt x="5" y="112"/>
                    </a:cubicBezTo>
                    <a:cubicBezTo>
                      <a:pt x="4" y="110"/>
                      <a:pt x="6" y="105"/>
                      <a:pt x="1" y="106"/>
                    </a:cubicBezTo>
                    <a:cubicBezTo>
                      <a:pt x="0" y="98"/>
                      <a:pt x="4" y="94"/>
                      <a:pt x="5" y="88"/>
                    </a:cubicBezTo>
                    <a:cubicBezTo>
                      <a:pt x="7" y="91"/>
                      <a:pt x="14" y="89"/>
                      <a:pt x="14" y="84"/>
                    </a:cubicBezTo>
                    <a:cubicBezTo>
                      <a:pt x="15" y="80"/>
                      <a:pt x="26" y="83"/>
                      <a:pt x="26" y="75"/>
                    </a:cubicBezTo>
                    <a:cubicBezTo>
                      <a:pt x="36" y="76"/>
                      <a:pt x="41" y="71"/>
                      <a:pt x="50" y="71"/>
                    </a:cubicBezTo>
                    <a:cubicBezTo>
                      <a:pt x="52" y="71"/>
                      <a:pt x="50" y="68"/>
                      <a:pt x="50" y="69"/>
                    </a:cubicBezTo>
                    <a:cubicBezTo>
                      <a:pt x="53" y="65"/>
                      <a:pt x="59" y="68"/>
                      <a:pt x="59" y="61"/>
                    </a:cubicBezTo>
                    <a:cubicBezTo>
                      <a:pt x="61" y="62"/>
                      <a:pt x="61" y="63"/>
                      <a:pt x="63" y="63"/>
                    </a:cubicBezTo>
                    <a:cubicBezTo>
                      <a:pt x="67" y="64"/>
                      <a:pt x="62" y="55"/>
                      <a:pt x="68" y="58"/>
                    </a:cubicBezTo>
                    <a:cubicBezTo>
                      <a:pt x="67" y="50"/>
                      <a:pt x="68" y="51"/>
                      <a:pt x="68" y="43"/>
                    </a:cubicBezTo>
                    <a:cubicBezTo>
                      <a:pt x="73" y="43"/>
                      <a:pt x="76" y="45"/>
                      <a:pt x="80" y="47"/>
                    </a:cubicBezTo>
                    <a:cubicBezTo>
                      <a:pt x="82" y="45"/>
                      <a:pt x="82" y="42"/>
                      <a:pt x="85" y="43"/>
                    </a:cubicBezTo>
                    <a:cubicBezTo>
                      <a:pt x="83" y="39"/>
                      <a:pt x="90" y="36"/>
                      <a:pt x="85" y="35"/>
                    </a:cubicBezTo>
                    <a:cubicBezTo>
                      <a:pt x="86" y="33"/>
                      <a:pt x="89" y="33"/>
                      <a:pt x="89" y="30"/>
                    </a:cubicBezTo>
                    <a:cubicBezTo>
                      <a:pt x="95" y="31"/>
                      <a:pt x="91" y="23"/>
                      <a:pt x="98" y="26"/>
                    </a:cubicBezTo>
                    <a:cubicBezTo>
                      <a:pt x="100" y="24"/>
                      <a:pt x="102" y="22"/>
                      <a:pt x="104" y="20"/>
                    </a:cubicBezTo>
                    <a:cubicBezTo>
                      <a:pt x="106" y="22"/>
                      <a:pt x="109" y="23"/>
                      <a:pt x="113" y="22"/>
                    </a:cubicBezTo>
                    <a:cubicBezTo>
                      <a:pt x="109" y="26"/>
                      <a:pt x="114" y="24"/>
                      <a:pt x="115" y="26"/>
                    </a:cubicBezTo>
                    <a:cubicBezTo>
                      <a:pt x="115" y="26"/>
                      <a:pt x="115" y="28"/>
                      <a:pt x="115" y="28"/>
                    </a:cubicBezTo>
                    <a:cubicBezTo>
                      <a:pt x="116" y="28"/>
                      <a:pt x="118" y="27"/>
                      <a:pt x="119" y="28"/>
                    </a:cubicBezTo>
                    <a:cubicBezTo>
                      <a:pt x="119" y="28"/>
                      <a:pt x="121" y="33"/>
                      <a:pt x="126" y="32"/>
                    </a:cubicBezTo>
                    <a:cubicBezTo>
                      <a:pt x="129" y="33"/>
                      <a:pt x="127" y="22"/>
                      <a:pt x="123" y="24"/>
                    </a:cubicBezTo>
                    <a:cubicBezTo>
                      <a:pt x="124" y="22"/>
                      <a:pt x="126" y="21"/>
                      <a:pt x="128" y="20"/>
                    </a:cubicBezTo>
                    <a:cubicBezTo>
                      <a:pt x="128" y="16"/>
                      <a:pt x="131" y="13"/>
                      <a:pt x="136" y="13"/>
                    </a:cubicBezTo>
                    <a:cubicBezTo>
                      <a:pt x="135" y="9"/>
                      <a:pt x="137" y="7"/>
                      <a:pt x="141" y="7"/>
                    </a:cubicBezTo>
                    <a:cubicBezTo>
                      <a:pt x="138" y="13"/>
                      <a:pt x="140" y="10"/>
                      <a:pt x="145" y="9"/>
                    </a:cubicBezTo>
                    <a:cubicBezTo>
                      <a:pt x="153" y="0"/>
                      <a:pt x="168" y="9"/>
                      <a:pt x="17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BC75C4A4-363F-4B62-984D-C0BA1984D143}"/>
                </a:ext>
              </a:extLst>
            </p:cNvPr>
            <p:cNvGrpSpPr/>
            <p:nvPr/>
          </p:nvGrpSpPr>
          <p:grpSpPr>
            <a:xfrm>
              <a:off x="4587259" y="1974715"/>
              <a:ext cx="2908571" cy="2908571"/>
              <a:chOff x="4488867" y="1821867"/>
              <a:chExt cx="3214266" cy="3214266"/>
            </a:xfrm>
          </p:grpSpPr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C19466B-8E6B-41E8-8F43-508E1BB07FB2}"/>
                  </a:ext>
                </a:extLst>
              </p:cNvPr>
              <p:cNvSpPr/>
              <p:nvPr/>
            </p:nvSpPr>
            <p:spPr bwMode="auto">
              <a:xfrm>
                <a:off x="4488867" y="3424170"/>
                <a:ext cx="1613574" cy="1611963"/>
              </a:xfrm>
              <a:custGeom>
                <a:avLst/>
                <a:gdLst>
                  <a:gd name="connsiteX0" fmla="*/ 0 w 1613574"/>
                  <a:gd name="connsiteY0" fmla="*/ 0 h 1611963"/>
                  <a:gd name="connsiteX1" fmla="*/ 365319 w 1613574"/>
                  <a:gd name="connsiteY1" fmla="*/ 0 h 1611963"/>
                  <a:gd name="connsiteX2" fmla="*/ 369704 w 1613574"/>
                  <a:gd name="connsiteY2" fmla="*/ 0 h 1611963"/>
                  <a:gd name="connsiteX3" fmla="*/ 369460 w 1613574"/>
                  <a:gd name="connsiteY3" fmla="*/ 4830 h 1611963"/>
                  <a:gd name="connsiteX4" fmla="*/ 1607133 w 1613574"/>
                  <a:gd name="connsiteY4" fmla="*/ 1242502 h 1611963"/>
                  <a:gd name="connsiteX5" fmla="*/ 1613574 w 1613574"/>
                  <a:gd name="connsiteY5" fmla="*/ 1242177 h 1611963"/>
                  <a:gd name="connsiteX6" fmla="*/ 1613574 w 1613574"/>
                  <a:gd name="connsiteY6" fmla="*/ 1244216 h 1611963"/>
                  <a:gd name="connsiteX7" fmla="*/ 1613574 w 1613574"/>
                  <a:gd name="connsiteY7" fmla="*/ 1611963 h 1611963"/>
                  <a:gd name="connsiteX8" fmla="*/ 0 w 1613574"/>
                  <a:gd name="connsiteY8" fmla="*/ 0 h 161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3574" h="1611963">
                    <a:moveTo>
                      <a:pt x="0" y="0"/>
                    </a:moveTo>
                    <a:cubicBezTo>
                      <a:pt x="0" y="0"/>
                      <a:pt x="0" y="0"/>
                      <a:pt x="365319" y="0"/>
                    </a:cubicBezTo>
                    <a:lnTo>
                      <a:pt x="369704" y="0"/>
                    </a:lnTo>
                    <a:lnTo>
                      <a:pt x="369460" y="4830"/>
                    </a:lnTo>
                    <a:cubicBezTo>
                      <a:pt x="369460" y="688377"/>
                      <a:pt x="923585" y="1242502"/>
                      <a:pt x="1607133" y="1242502"/>
                    </a:cubicBezTo>
                    <a:lnTo>
                      <a:pt x="1613574" y="1242177"/>
                    </a:lnTo>
                    <a:lnTo>
                      <a:pt x="1613574" y="1244216"/>
                    </a:lnTo>
                    <a:cubicBezTo>
                      <a:pt x="1613574" y="1324682"/>
                      <a:pt x="1613574" y="1441722"/>
                      <a:pt x="1613574" y="1611963"/>
                    </a:cubicBezTo>
                    <a:cubicBezTo>
                      <a:pt x="724291" y="1611963"/>
                      <a:pt x="0" y="888396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EDE78358-B8CD-421F-AC98-5B0BDCB67936}"/>
                  </a:ext>
                </a:extLst>
              </p:cNvPr>
              <p:cNvSpPr/>
              <p:nvPr/>
            </p:nvSpPr>
            <p:spPr bwMode="auto">
              <a:xfrm>
                <a:off x="4488867" y="1821867"/>
                <a:ext cx="1613574" cy="1613574"/>
              </a:xfrm>
              <a:custGeom>
                <a:avLst/>
                <a:gdLst>
                  <a:gd name="connsiteX0" fmla="*/ 1613574 w 1613574"/>
                  <a:gd name="connsiteY0" fmla="*/ 0 h 1613574"/>
                  <a:gd name="connsiteX1" fmla="*/ 1613574 w 1613574"/>
                  <a:gd name="connsiteY1" fmla="*/ 363445 h 1613574"/>
                  <a:gd name="connsiteX2" fmla="*/ 1613574 w 1613574"/>
                  <a:gd name="connsiteY2" fmla="*/ 369786 h 1613574"/>
                  <a:gd name="connsiteX3" fmla="*/ 1607133 w 1613574"/>
                  <a:gd name="connsiteY3" fmla="*/ 369461 h 1613574"/>
                  <a:gd name="connsiteX4" fmla="*/ 369460 w 1613574"/>
                  <a:gd name="connsiteY4" fmla="*/ 1607133 h 1613574"/>
                  <a:gd name="connsiteX5" fmla="*/ 369786 w 1613574"/>
                  <a:gd name="connsiteY5" fmla="*/ 1613574 h 1613574"/>
                  <a:gd name="connsiteX6" fmla="*/ 368115 w 1613574"/>
                  <a:gd name="connsiteY6" fmla="*/ 1613574 h 1613574"/>
                  <a:gd name="connsiteX7" fmla="*/ 0 w 1613574"/>
                  <a:gd name="connsiteY7" fmla="*/ 1613574 h 1613574"/>
                  <a:gd name="connsiteX8" fmla="*/ 1613574 w 1613574"/>
                  <a:gd name="connsiteY8" fmla="*/ 0 h 1613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3574" h="1613574">
                    <a:moveTo>
                      <a:pt x="1613574" y="0"/>
                    </a:moveTo>
                    <a:cubicBezTo>
                      <a:pt x="1613574" y="0"/>
                      <a:pt x="1613574" y="0"/>
                      <a:pt x="1613574" y="363445"/>
                    </a:cubicBezTo>
                    <a:lnTo>
                      <a:pt x="1613574" y="369786"/>
                    </a:lnTo>
                    <a:lnTo>
                      <a:pt x="1607133" y="369461"/>
                    </a:lnTo>
                    <a:cubicBezTo>
                      <a:pt x="923585" y="369461"/>
                      <a:pt x="369460" y="923586"/>
                      <a:pt x="369460" y="1607133"/>
                    </a:cubicBezTo>
                    <a:lnTo>
                      <a:pt x="369786" y="1613574"/>
                    </a:lnTo>
                    <a:lnTo>
                      <a:pt x="368115" y="1613574"/>
                    </a:lnTo>
                    <a:cubicBezTo>
                      <a:pt x="287569" y="1613574"/>
                      <a:pt x="170411" y="1613574"/>
                      <a:pt x="0" y="1613574"/>
                    </a:cubicBezTo>
                    <a:cubicBezTo>
                      <a:pt x="0" y="724291"/>
                      <a:pt x="724291" y="0"/>
                      <a:pt x="161357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C700F865-871A-437D-8E21-ADAE2A75E6DC}"/>
                  </a:ext>
                </a:extLst>
              </p:cNvPr>
              <p:cNvSpPr/>
              <p:nvPr/>
            </p:nvSpPr>
            <p:spPr bwMode="auto">
              <a:xfrm>
                <a:off x="6091169" y="3424170"/>
                <a:ext cx="1611964" cy="1611963"/>
              </a:xfrm>
              <a:custGeom>
                <a:avLst/>
                <a:gdLst>
                  <a:gd name="connsiteX0" fmla="*/ 1242260 w 1611964"/>
                  <a:gd name="connsiteY0" fmla="*/ 0 h 1611963"/>
                  <a:gd name="connsiteX1" fmla="*/ 1244217 w 1611964"/>
                  <a:gd name="connsiteY1" fmla="*/ 0 h 1611963"/>
                  <a:gd name="connsiteX2" fmla="*/ 1611964 w 1611964"/>
                  <a:gd name="connsiteY2" fmla="*/ 0 h 1611963"/>
                  <a:gd name="connsiteX3" fmla="*/ 0 w 1611964"/>
                  <a:gd name="connsiteY3" fmla="*/ 1611963 h 1611963"/>
                  <a:gd name="connsiteX4" fmla="*/ 0 w 1611964"/>
                  <a:gd name="connsiteY4" fmla="*/ 1247009 h 1611963"/>
                  <a:gd name="connsiteX5" fmla="*/ 0 w 1611964"/>
                  <a:gd name="connsiteY5" fmla="*/ 1242258 h 1611963"/>
                  <a:gd name="connsiteX6" fmla="*/ 4831 w 1611964"/>
                  <a:gd name="connsiteY6" fmla="*/ 1242502 h 1611963"/>
                  <a:gd name="connsiteX7" fmla="*/ 1242504 w 1611964"/>
                  <a:gd name="connsiteY7" fmla="*/ 4830 h 161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964" h="1611963">
                    <a:moveTo>
                      <a:pt x="1242260" y="0"/>
                    </a:moveTo>
                    <a:lnTo>
                      <a:pt x="1244217" y="0"/>
                    </a:lnTo>
                    <a:cubicBezTo>
                      <a:pt x="1324683" y="0"/>
                      <a:pt x="1441723" y="0"/>
                      <a:pt x="1611964" y="0"/>
                    </a:cubicBezTo>
                    <a:cubicBezTo>
                      <a:pt x="1611964" y="888396"/>
                      <a:pt x="888396" y="1611963"/>
                      <a:pt x="0" y="1611963"/>
                    </a:cubicBezTo>
                    <a:cubicBezTo>
                      <a:pt x="0" y="1611963"/>
                      <a:pt x="0" y="1611963"/>
                      <a:pt x="0" y="1247009"/>
                    </a:cubicBezTo>
                    <a:lnTo>
                      <a:pt x="0" y="1242258"/>
                    </a:lnTo>
                    <a:lnTo>
                      <a:pt x="4831" y="1242502"/>
                    </a:lnTo>
                    <a:cubicBezTo>
                      <a:pt x="688379" y="1242502"/>
                      <a:pt x="1242504" y="688377"/>
                      <a:pt x="1242504" y="483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6FBAA959-2685-4FF1-9443-EEBC83C517B3}"/>
                  </a:ext>
                </a:extLst>
              </p:cNvPr>
              <p:cNvSpPr/>
              <p:nvPr/>
            </p:nvSpPr>
            <p:spPr bwMode="auto">
              <a:xfrm>
                <a:off x="6091169" y="1821867"/>
                <a:ext cx="1611964" cy="1613574"/>
              </a:xfrm>
              <a:custGeom>
                <a:avLst/>
                <a:gdLst>
                  <a:gd name="connsiteX0" fmla="*/ 0 w 1611964"/>
                  <a:gd name="connsiteY0" fmla="*/ 0 h 1613574"/>
                  <a:gd name="connsiteX1" fmla="*/ 1611964 w 1611964"/>
                  <a:gd name="connsiteY1" fmla="*/ 1613574 h 1613574"/>
                  <a:gd name="connsiteX2" fmla="*/ 1247010 w 1611964"/>
                  <a:gd name="connsiteY2" fmla="*/ 1613574 h 1613574"/>
                  <a:gd name="connsiteX3" fmla="*/ 1242179 w 1611964"/>
                  <a:gd name="connsiteY3" fmla="*/ 1613574 h 1613574"/>
                  <a:gd name="connsiteX4" fmla="*/ 1242504 w 1611964"/>
                  <a:gd name="connsiteY4" fmla="*/ 1607133 h 1613574"/>
                  <a:gd name="connsiteX5" fmla="*/ 4831 w 1611964"/>
                  <a:gd name="connsiteY5" fmla="*/ 369461 h 1613574"/>
                  <a:gd name="connsiteX6" fmla="*/ 0 w 1611964"/>
                  <a:gd name="connsiteY6" fmla="*/ 369705 h 1613574"/>
                  <a:gd name="connsiteX7" fmla="*/ 0 w 1611964"/>
                  <a:gd name="connsiteY7" fmla="*/ 366227 h 1613574"/>
                  <a:gd name="connsiteX8" fmla="*/ 0 w 1611964"/>
                  <a:gd name="connsiteY8" fmla="*/ 0 h 1613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1964" h="1613574">
                    <a:moveTo>
                      <a:pt x="0" y="0"/>
                    </a:moveTo>
                    <a:cubicBezTo>
                      <a:pt x="888396" y="0"/>
                      <a:pt x="1611964" y="724291"/>
                      <a:pt x="1611964" y="1613574"/>
                    </a:cubicBezTo>
                    <a:cubicBezTo>
                      <a:pt x="1611964" y="1613574"/>
                      <a:pt x="1611964" y="1613574"/>
                      <a:pt x="1247010" y="1613574"/>
                    </a:cubicBezTo>
                    <a:lnTo>
                      <a:pt x="1242179" y="1613574"/>
                    </a:lnTo>
                    <a:lnTo>
                      <a:pt x="1242504" y="1607133"/>
                    </a:lnTo>
                    <a:cubicBezTo>
                      <a:pt x="1242504" y="923586"/>
                      <a:pt x="688379" y="369461"/>
                      <a:pt x="4831" y="369461"/>
                    </a:cubicBezTo>
                    <a:lnTo>
                      <a:pt x="0" y="369705"/>
                    </a:lnTo>
                    <a:lnTo>
                      <a:pt x="0" y="366227"/>
                    </a:lnTo>
                    <a:cubicBezTo>
                      <a:pt x="0" y="286094"/>
                      <a:pt x="0" y="169537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6641A70A-ADE4-48C2-822A-C7781DB35547}"/>
                </a:ext>
              </a:extLst>
            </p:cNvPr>
            <p:cNvSpPr/>
            <p:nvPr/>
          </p:nvSpPr>
          <p:spPr>
            <a:xfrm>
              <a:off x="4755054" y="2276333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1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391F2DEB-5EBE-430A-89E2-319DD2B2627B}"/>
                </a:ext>
              </a:extLst>
            </p:cNvPr>
            <p:cNvSpPr/>
            <p:nvPr/>
          </p:nvSpPr>
          <p:spPr>
            <a:xfrm>
              <a:off x="6755960" y="2276333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2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E12F3321-6D19-44BE-B8D0-41BD72A935B9}"/>
                </a:ext>
              </a:extLst>
            </p:cNvPr>
            <p:cNvSpPr/>
            <p:nvPr/>
          </p:nvSpPr>
          <p:spPr>
            <a:xfrm>
              <a:off x="4755054" y="4048016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4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9A435BB-9CDE-4E94-A268-FE83A999DC95}"/>
                </a:ext>
              </a:extLst>
            </p:cNvPr>
            <p:cNvSpPr/>
            <p:nvPr/>
          </p:nvSpPr>
          <p:spPr>
            <a:xfrm>
              <a:off x="6755960" y="4048016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3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5E6488B-42D4-478B-99FE-3243456B0734}"/>
                </a:ext>
              </a:extLst>
            </p:cNvPr>
            <p:cNvSpPr/>
            <p:nvPr/>
          </p:nvSpPr>
          <p:spPr bwMode="auto">
            <a:xfrm>
              <a:off x="5755818" y="2794896"/>
              <a:ext cx="627888" cy="647304"/>
            </a:xfrm>
            <a:custGeom>
              <a:avLst/>
              <a:gdLst>
                <a:gd name="T0" fmla="*/ 5363 w 5499"/>
                <a:gd name="T1" fmla="*/ 3729 h 5677"/>
                <a:gd name="T2" fmla="*/ 4520 w 5499"/>
                <a:gd name="T3" fmla="*/ 2649 h 5677"/>
                <a:gd name="T4" fmla="*/ 3673 w 5499"/>
                <a:gd name="T5" fmla="*/ 3040 h 5677"/>
                <a:gd name="T6" fmla="*/ 3023 w 5499"/>
                <a:gd name="T7" fmla="*/ 2741 h 5677"/>
                <a:gd name="T8" fmla="*/ 3454 w 5499"/>
                <a:gd name="T9" fmla="*/ 1972 h 5677"/>
                <a:gd name="T10" fmla="*/ 3507 w 5499"/>
                <a:gd name="T11" fmla="*/ 1328 h 5677"/>
                <a:gd name="T12" fmla="*/ 2170 w 5499"/>
                <a:gd name="T13" fmla="*/ 0 h 5677"/>
                <a:gd name="T14" fmla="*/ 1102 w 5499"/>
                <a:gd name="T15" fmla="*/ 1508 h 5677"/>
                <a:gd name="T16" fmla="*/ 1279 w 5499"/>
                <a:gd name="T17" fmla="*/ 2144 h 5677"/>
                <a:gd name="T18" fmla="*/ 1534 w 5499"/>
                <a:gd name="T19" fmla="*/ 2877 h 5677"/>
                <a:gd name="T20" fmla="*/ 3 w 5499"/>
                <a:gd name="T21" fmla="*/ 5432 h 5677"/>
                <a:gd name="T22" fmla="*/ 4372 w 5499"/>
                <a:gd name="T23" fmla="*/ 5653 h 5677"/>
                <a:gd name="T24" fmla="*/ 4996 w 5499"/>
                <a:gd name="T25" fmla="*/ 5161 h 5677"/>
                <a:gd name="T26" fmla="*/ 5363 w 5499"/>
                <a:gd name="T27" fmla="*/ 3960 h 5677"/>
                <a:gd name="T28" fmla="*/ 2075 w 5499"/>
                <a:gd name="T29" fmla="*/ 3721 h 5677"/>
                <a:gd name="T30" fmla="*/ 1829 w 5499"/>
                <a:gd name="T31" fmla="*/ 3415 h 5677"/>
                <a:gd name="T32" fmla="*/ 1924 w 5499"/>
                <a:gd name="T33" fmla="*/ 2970 h 5677"/>
                <a:gd name="T34" fmla="*/ 2135 w 5499"/>
                <a:gd name="T35" fmla="*/ 3252 h 5677"/>
                <a:gd name="T36" fmla="*/ 2140 w 5499"/>
                <a:gd name="T37" fmla="*/ 3663 h 5677"/>
                <a:gd name="T38" fmla="*/ 2592 w 5499"/>
                <a:gd name="T39" fmla="*/ 3721 h 5677"/>
                <a:gd name="T40" fmla="*/ 2492 w 5499"/>
                <a:gd name="T41" fmla="*/ 3318 h 5677"/>
                <a:gd name="T42" fmla="*/ 2533 w 5499"/>
                <a:gd name="T43" fmla="*/ 3090 h 5677"/>
                <a:gd name="T44" fmla="*/ 2807 w 5499"/>
                <a:gd name="T45" fmla="*/ 2972 h 5677"/>
                <a:gd name="T46" fmla="*/ 2825 w 5499"/>
                <a:gd name="T47" fmla="*/ 3454 h 5677"/>
                <a:gd name="T48" fmla="*/ 1776 w 5499"/>
                <a:gd name="T49" fmla="*/ 2351 h 5677"/>
                <a:gd name="T50" fmla="*/ 1477 w 5499"/>
                <a:gd name="T51" fmla="*/ 1747 h 5677"/>
                <a:gd name="T52" fmla="*/ 1513 w 5499"/>
                <a:gd name="T53" fmla="*/ 1522 h 5677"/>
                <a:gd name="T54" fmla="*/ 1575 w 5499"/>
                <a:gd name="T55" fmla="*/ 1348 h 5677"/>
                <a:gd name="T56" fmla="*/ 2781 w 5499"/>
                <a:gd name="T57" fmla="*/ 1554 h 5677"/>
                <a:gd name="T58" fmla="*/ 3119 w 5499"/>
                <a:gd name="T59" fmla="*/ 1522 h 5677"/>
                <a:gd name="T60" fmla="*/ 3219 w 5499"/>
                <a:gd name="T61" fmla="*/ 1693 h 5677"/>
                <a:gd name="T62" fmla="*/ 3123 w 5499"/>
                <a:gd name="T63" fmla="*/ 1815 h 5677"/>
                <a:gd name="T64" fmla="*/ 5035 w 5499"/>
                <a:gd name="T65" fmla="*/ 4769 h 5677"/>
                <a:gd name="T66" fmla="*/ 4520 w 5499"/>
                <a:gd name="T67" fmla="*/ 5367 h 5677"/>
                <a:gd name="T68" fmla="*/ 3887 w 5499"/>
                <a:gd name="T69" fmla="*/ 4672 h 5677"/>
                <a:gd name="T70" fmla="*/ 4121 w 5499"/>
                <a:gd name="T71" fmla="*/ 4395 h 5677"/>
                <a:gd name="T72" fmla="*/ 4693 w 5499"/>
                <a:gd name="T73" fmla="*/ 4475 h 5677"/>
                <a:gd name="T74" fmla="*/ 3985 w 5499"/>
                <a:gd name="T75" fmla="*/ 4136 h 5677"/>
                <a:gd name="T76" fmla="*/ 4355 w 5499"/>
                <a:gd name="T77" fmla="*/ 3316 h 5677"/>
                <a:gd name="T78" fmla="*/ 4686 w 5499"/>
                <a:gd name="T79" fmla="*/ 3124 h 5677"/>
                <a:gd name="T80" fmla="*/ 5064 w 5499"/>
                <a:gd name="T81" fmla="*/ 3650 h 5677"/>
                <a:gd name="T82" fmla="*/ 4693 w 5499"/>
                <a:gd name="T83" fmla="*/ 3744 h 5677"/>
                <a:gd name="T84" fmla="*/ 4379 w 5499"/>
                <a:gd name="T85" fmla="*/ 3819 h 5677"/>
                <a:gd name="T86" fmla="*/ 5110 w 5499"/>
                <a:gd name="T87" fmla="*/ 4137 h 5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99" h="5677">
                  <a:moveTo>
                    <a:pt x="5363" y="3960"/>
                  </a:moveTo>
                  <a:cubicBezTo>
                    <a:pt x="5342" y="3930"/>
                    <a:pt x="5320" y="3902"/>
                    <a:pt x="5296" y="3876"/>
                  </a:cubicBezTo>
                  <a:cubicBezTo>
                    <a:pt x="5326" y="3832"/>
                    <a:pt x="5349" y="3782"/>
                    <a:pt x="5363" y="3729"/>
                  </a:cubicBezTo>
                  <a:cubicBezTo>
                    <a:pt x="5405" y="3570"/>
                    <a:pt x="5363" y="3403"/>
                    <a:pt x="5251" y="3283"/>
                  </a:cubicBezTo>
                  <a:cubicBezTo>
                    <a:pt x="5178" y="3205"/>
                    <a:pt x="5093" y="3143"/>
                    <a:pt x="4995" y="3096"/>
                  </a:cubicBezTo>
                  <a:cubicBezTo>
                    <a:pt x="4980" y="2847"/>
                    <a:pt x="4773" y="2649"/>
                    <a:pt x="4520" y="2649"/>
                  </a:cubicBezTo>
                  <a:cubicBezTo>
                    <a:pt x="4272" y="2649"/>
                    <a:pt x="4067" y="2841"/>
                    <a:pt x="4047" y="3085"/>
                  </a:cubicBezTo>
                  <a:cubicBezTo>
                    <a:pt x="4017" y="3098"/>
                    <a:pt x="3989" y="3112"/>
                    <a:pt x="3962" y="3128"/>
                  </a:cubicBezTo>
                  <a:lnTo>
                    <a:pt x="3673" y="3040"/>
                  </a:lnTo>
                  <a:cubicBezTo>
                    <a:pt x="3673" y="3040"/>
                    <a:pt x="3673" y="3041"/>
                    <a:pt x="3673" y="3041"/>
                  </a:cubicBezTo>
                  <a:lnTo>
                    <a:pt x="3133" y="2877"/>
                  </a:lnTo>
                  <a:cubicBezTo>
                    <a:pt x="3116" y="2825"/>
                    <a:pt x="3077" y="2779"/>
                    <a:pt x="3023" y="2741"/>
                  </a:cubicBezTo>
                  <a:cubicBezTo>
                    <a:pt x="3083" y="2675"/>
                    <a:pt x="3133" y="2608"/>
                    <a:pt x="3171" y="2553"/>
                  </a:cubicBezTo>
                  <a:cubicBezTo>
                    <a:pt x="3261" y="2421"/>
                    <a:pt x="3337" y="2280"/>
                    <a:pt x="3389" y="2144"/>
                  </a:cubicBezTo>
                  <a:cubicBezTo>
                    <a:pt x="3414" y="2087"/>
                    <a:pt x="3436" y="2029"/>
                    <a:pt x="3454" y="1972"/>
                  </a:cubicBezTo>
                  <a:cubicBezTo>
                    <a:pt x="3524" y="1914"/>
                    <a:pt x="3565" y="1826"/>
                    <a:pt x="3565" y="1734"/>
                  </a:cubicBezTo>
                  <a:lnTo>
                    <a:pt x="3565" y="1508"/>
                  </a:lnTo>
                  <a:cubicBezTo>
                    <a:pt x="3565" y="1443"/>
                    <a:pt x="3545" y="1380"/>
                    <a:pt x="3507" y="1328"/>
                  </a:cubicBezTo>
                  <a:lnTo>
                    <a:pt x="3507" y="1010"/>
                  </a:lnTo>
                  <a:cubicBezTo>
                    <a:pt x="3507" y="453"/>
                    <a:pt x="3054" y="0"/>
                    <a:pt x="2497" y="0"/>
                  </a:cubicBezTo>
                  <a:lnTo>
                    <a:pt x="2170" y="0"/>
                  </a:lnTo>
                  <a:cubicBezTo>
                    <a:pt x="1613" y="0"/>
                    <a:pt x="1160" y="453"/>
                    <a:pt x="1160" y="1010"/>
                  </a:cubicBezTo>
                  <a:lnTo>
                    <a:pt x="1160" y="1328"/>
                  </a:lnTo>
                  <a:cubicBezTo>
                    <a:pt x="1122" y="1380"/>
                    <a:pt x="1102" y="1444"/>
                    <a:pt x="1102" y="1508"/>
                  </a:cubicBezTo>
                  <a:lnTo>
                    <a:pt x="1102" y="1734"/>
                  </a:lnTo>
                  <a:cubicBezTo>
                    <a:pt x="1102" y="1826"/>
                    <a:pt x="1143" y="1914"/>
                    <a:pt x="1213" y="1972"/>
                  </a:cubicBezTo>
                  <a:cubicBezTo>
                    <a:pt x="1231" y="2029"/>
                    <a:pt x="1253" y="2087"/>
                    <a:pt x="1279" y="2144"/>
                  </a:cubicBezTo>
                  <a:cubicBezTo>
                    <a:pt x="1331" y="2280"/>
                    <a:pt x="1406" y="2421"/>
                    <a:pt x="1496" y="2552"/>
                  </a:cubicBezTo>
                  <a:cubicBezTo>
                    <a:pt x="1534" y="2608"/>
                    <a:pt x="1584" y="2674"/>
                    <a:pt x="1644" y="2740"/>
                  </a:cubicBezTo>
                  <a:cubicBezTo>
                    <a:pt x="1590" y="2779"/>
                    <a:pt x="1551" y="2825"/>
                    <a:pt x="1534" y="2877"/>
                  </a:cubicBezTo>
                  <a:lnTo>
                    <a:pt x="814" y="3095"/>
                  </a:lnTo>
                  <a:cubicBezTo>
                    <a:pt x="307" y="3241"/>
                    <a:pt x="3" y="5432"/>
                    <a:pt x="3" y="5432"/>
                  </a:cubicBezTo>
                  <a:lnTo>
                    <a:pt x="3" y="5432"/>
                  </a:lnTo>
                  <a:cubicBezTo>
                    <a:pt x="1" y="5442"/>
                    <a:pt x="0" y="5452"/>
                    <a:pt x="0" y="5462"/>
                  </a:cubicBezTo>
                  <a:cubicBezTo>
                    <a:pt x="0" y="5567"/>
                    <a:pt x="86" y="5653"/>
                    <a:pt x="191" y="5653"/>
                  </a:cubicBezTo>
                  <a:lnTo>
                    <a:pt x="4372" y="5653"/>
                  </a:lnTo>
                  <a:cubicBezTo>
                    <a:pt x="4418" y="5668"/>
                    <a:pt x="4468" y="5677"/>
                    <a:pt x="4520" y="5677"/>
                  </a:cubicBezTo>
                  <a:cubicBezTo>
                    <a:pt x="4783" y="5677"/>
                    <a:pt x="4996" y="5464"/>
                    <a:pt x="4996" y="5202"/>
                  </a:cubicBezTo>
                  <a:lnTo>
                    <a:pt x="4996" y="5161"/>
                  </a:lnTo>
                  <a:cubicBezTo>
                    <a:pt x="5091" y="5119"/>
                    <a:pt x="5175" y="5063"/>
                    <a:pt x="5248" y="4994"/>
                  </a:cubicBezTo>
                  <a:cubicBezTo>
                    <a:pt x="5412" y="4838"/>
                    <a:pt x="5499" y="4635"/>
                    <a:pt x="5499" y="4406"/>
                  </a:cubicBezTo>
                  <a:cubicBezTo>
                    <a:pt x="5499" y="4239"/>
                    <a:pt x="5453" y="4089"/>
                    <a:pt x="5363" y="3960"/>
                  </a:cubicBezTo>
                  <a:close/>
                  <a:moveTo>
                    <a:pt x="2140" y="3663"/>
                  </a:moveTo>
                  <a:cubicBezTo>
                    <a:pt x="2137" y="3689"/>
                    <a:pt x="2118" y="3711"/>
                    <a:pt x="2093" y="3718"/>
                  </a:cubicBezTo>
                  <a:cubicBezTo>
                    <a:pt x="2087" y="3720"/>
                    <a:pt x="2081" y="3721"/>
                    <a:pt x="2075" y="3721"/>
                  </a:cubicBezTo>
                  <a:cubicBezTo>
                    <a:pt x="2055" y="3721"/>
                    <a:pt x="2036" y="3711"/>
                    <a:pt x="2024" y="3695"/>
                  </a:cubicBezTo>
                  <a:lnTo>
                    <a:pt x="1842" y="3454"/>
                  </a:lnTo>
                  <a:cubicBezTo>
                    <a:pt x="1833" y="3442"/>
                    <a:pt x="1829" y="3429"/>
                    <a:pt x="1829" y="3415"/>
                  </a:cubicBezTo>
                  <a:lnTo>
                    <a:pt x="1829" y="3028"/>
                  </a:lnTo>
                  <a:cubicBezTo>
                    <a:pt x="1829" y="3005"/>
                    <a:pt x="1841" y="2984"/>
                    <a:pt x="1860" y="2972"/>
                  </a:cubicBezTo>
                  <a:cubicBezTo>
                    <a:pt x="1880" y="2961"/>
                    <a:pt x="1904" y="2960"/>
                    <a:pt x="1924" y="2970"/>
                  </a:cubicBezTo>
                  <a:cubicBezTo>
                    <a:pt x="1977" y="2998"/>
                    <a:pt x="2030" y="3017"/>
                    <a:pt x="2081" y="3026"/>
                  </a:cubicBezTo>
                  <a:cubicBezTo>
                    <a:pt x="2112" y="3032"/>
                    <a:pt x="2135" y="3059"/>
                    <a:pt x="2135" y="3090"/>
                  </a:cubicBezTo>
                  <a:lnTo>
                    <a:pt x="2135" y="3252"/>
                  </a:lnTo>
                  <a:cubicBezTo>
                    <a:pt x="2144" y="3255"/>
                    <a:pt x="2152" y="3261"/>
                    <a:pt x="2159" y="3268"/>
                  </a:cubicBezTo>
                  <a:cubicBezTo>
                    <a:pt x="2171" y="3282"/>
                    <a:pt x="2177" y="3300"/>
                    <a:pt x="2175" y="3318"/>
                  </a:cubicBezTo>
                  <a:lnTo>
                    <a:pt x="2140" y="3663"/>
                  </a:lnTo>
                  <a:close/>
                  <a:moveTo>
                    <a:pt x="2825" y="3454"/>
                  </a:moveTo>
                  <a:lnTo>
                    <a:pt x="2644" y="3695"/>
                  </a:lnTo>
                  <a:cubicBezTo>
                    <a:pt x="2631" y="3711"/>
                    <a:pt x="2612" y="3721"/>
                    <a:pt x="2592" y="3721"/>
                  </a:cubicBezTo>
                  <a:cubicBezTo>
                    <a:pt x="2586" y="3721"/>
                    <a:pt x="2580" y="3720"/>
                    <a:pt x="2574" y="3718"/>
                  </a:cubicBezTo>
                  <a:cubicBezTo>
                    <a:pt x="2549" y="3711"/>
                    <a:pt x="2530" y="3689"/>
                    <a:pt x="2527" y="3662"/>
                  </a:cubicBezTo>
                  <a:lnTo>
                    <a:pt x="2492" y="3318"/>
                  </a:lnTo>
                  <a:cubicBezTo>
                    <a:pt x="2490" y="3300"/>
                    <a:pt x="2496" y="3282"/>
                    <a:pt x="2508" y="3268"/>
                  </a:cubicBezTo>
                  <a:cubicBezTo>
                    <a:pt x="2515" y="3261"/>
                    <a:pt x="2523" y="3255"/>
                    <a:pt x="2533" y="3252"/>
                  </a:cubicBezTo>
                  <a:lnTo>
                    <a:pt x="2533" y="3090"/>
                  </a:lnTo>
                  <a:cubicBezTo>
                    <a:pt x="2533" y="3059"/>
                    <a:pt x="2555" y="3032"/>
                    <a:pt x="2586" y="3026"/>
                  </a:cubicBezTo>
                  <a:cubicBezTo>
                    <a:pt x="2637" y="3017"/>
                    <a:pt x="2690" y="2998"/>
                    <a:pt x="2743" y="2971"/>
                  </a:cubicBezTo>
                  <a:cubicBezTo>
                    <a:pt x="2763" y="2960"/>
                    <a:pt x="2787" y="2961"/>
                    <a:pt x="2807" y="2972"/>
                  </a:cubicBezTo>
                  <a:cubicBezTo>
                    <a:pt x="2826" y="2984"/>
                    <a:pt x="2838" y="3005"/>
                    <a:pt x="2838" y="3028"/>
                  </a:cubicBezTo>
                  <a:lnTo>
                    <a:pt x="2838" y="3415"/>
                  </a:lnTo>
                  <a:cubicBezTo>
                    <a:pt x="2838" y="3429"/>
                    <a:pt x="2834" y="3442"/>
                    <a:pt x="2825" y="3454"/>
                  </a:cubicBezTo>
                  <a:close/>
                  <a:moveTo>
                    <a:pt x="2508" y="2684"/>
                  </a:moveTo>
                  <a:lnTo>
                    <a:pt x="2160" y="2684"/>
                  </a:lnTo>
                  <a:cubicBezTo>
                    <a:pt x="2083" y="2684"/>
                    <a:pt x="1934" y="2581"/>
                    <a:pt x="1776" y="2351"/>
                  </a:cubicBezTo>
                  <a:cubicBezTo>
                    <a:pt x="1651" y="2170"/>
                    <a:pt x="1564" y="1970"/>
                    <a:pt x="1544" y="1815"/>
                  </a:cubicBezTo>
                  <a:lnTo>
                    <a:pt x="1540" y="1788"/>
                  </a:lnTo>
                  <a:lnTo>
                    <a:pt x="1477" y="1747"/>
                  </a:lnTo>
                  <a:cubicBezTo>
                    <a:pt x="1459" y="1735"/>
                    <a:pt x="1448" y="1715"/>
                    <a:pt x="1448" y="1693"/>
                  </a:cubicBezTo>
                  <a:lnTo>
                    <a:pt x="1448" y="1586"/>
                  </a:lnTo>
                  <a:cubicBezTo>
                    <a:pt x="1448" y="1551"/>
                    <a:pt x="1477" y="1522"/>
                    <a:pt x="1513" y="1522"/>
                  </a:cubicBezTo>
                  <a:lnTo>
                    <a:pt x="1539" y="1522"/>
                  </a:lnTo>
                  <a:lnTo>
                    <a:pt x="1539" y="1406"/>
                  </a:lnTo>
                  <a:cubicBezTo>
                    <a:pt x="1539" y="1382"/>
                    <a:pt x="1553" y="1359"/>
                    <a:pt x="1575" y="1348"/>
                  </a:cubicBezTo>
                  <a:cubicBezTo>
                    <a:pt x="1664" y="1304"/>
                    <a:pt x="1841" y="1229"/>
                    <a:pt x="2024" y="1229"/>
                  </a:cubicBezTo>
                  <a:cubicBezTo>
                    <a:pt x="2170" y="1229"/>
                    <a:pt x="2292" y="1278"/>
                    <a:pt x="2384" y="1374"/>
                  </a:cubicBezTo>
                  <a:cubicBezTo>
                    <a:pt x="2500" y="1493"/>
                    <a:pt x="2633" y="1554"/>
                    <a:pt x="2781" y="1554"/>
                  </a:cubicBezTo>
                  <a:cubicBezTo>
                    <a:pt x="2864" y="1554"/>
                    <a:pt x="2950" y="1534"/>
                    <a:pt x="3037" y="1495"/>
                  </a:cubicBezTo>
                  <a:cubicBezTo>
                    <a:pt x="3057" y="1486"/>
                    <a:pt x="3080" y="1488"/>
                    <a:pt x="3098" y="1500"/>
                  </a:cubicBezTo>
                  <a:cubicBezTo>
                    <a:pt x="3107" y="1506"/>
                    <a:pt x="3114" y="1513"/>
                    <a:pt x="3119" y="1522"/>
                  </a:cubicBezTo>
                  <a:lnTo>
                    <a:pt x="3154" y="1522"/>
                  </a:lnTo>
                  <a:cubicBezTo>
                    <a:pt x="3190" y="1522"/>
                    <a:pt x="3219" y="1551"/>
                    <a:pt x="3219" y="1586"/>
                  </a:cubicBezTo>
                  <a:lnTo>
                    <a:pt x="3219" y="1693"/>
                  </a:lnTo>
                  <a:cubicBezTo>
                    <a:pt x="3219" y="1715"/>
                    <a:pt x="3208" y="1735"/>
                    <a:pt x="3190" y="1747"/>
                  </a:cubicBezTo>
                  <a:lnTo>
                    <a:pt x="3127" y="1788"/>
                  </a:lnTo>
                  <a:lnTo>
                    <a:pt x="3123" y="1815"/>
                  </a:lnTo>
                  <a:cubicBezTo>
                    <a:pt x="3103" y="1970"/>
                    <a:pt x="3016" y="2170"/>
                    <a:pt x="2891" y="2351"/>
                  </a:cubicBezTo>
                  <a:cubicBezTo>
                    <a:pt x="2733" y="2581"/>
                    <a:pt x="2584" y="2684"/>
                    <a:pt x="2508" y="2684"/>
                  </a:cubicBezTo>
                  <a:close/>
                  <a:moveTo>
                    <a:pt x="5035" y="4769"/>
                  </a:moveTo>
                  <a:cubicBezTo>
                    <a:pt x="4947" y="4852"/>
                    <a:pt x="4830" y="4908"/>
                    <a:pt x="4686" y="4935"/>
                  </a:cubicBezTo>
                  <a:lnTo>
                    <a:pt x="4686" y="5202"/>
                  </a:lnTo>
                  <a:cubicBezTo>
                    <a:pt x="4686" y="5293"/>
                    <a:pt x="4612" y="5367"/>
                    <a:pt x="4520" y="5367"/>
                  </a:cubicBezTo>
                  <a:cubicBezTo>
                    <a:pt x="4429" y="5367"/>
                    <a:pt x="4355" y="5293"/>
                    <a:pt x="4355" y="5202"/>
                  </a:cubicBezTo>
                  <a:lnTo>
                    <a:pt x="4355" y="4944"/>
                  </a:lnTo>
                  <a:cubicBezTo>
                    <a:pt x="4144" y="4915"/>
                    <a:pt x="3987" y="4824"/>
                    <a:pt x="3887" y="4672"/>
                  </a:cubicBezTo>
                  <a:cubicBezTo>
                    <a:pt x="3857" y="4626"/>
                    <a:pt x="3851" y="4567"/>
                    <a:pt x="3873" y="4516"/>
                  </a:cubicBezTo>
                  <a:cubicBezTo>
                    <a:pt x="3895" y="4465"/>
                    <a:pt x="3941" y="4428"/>
                    <a:pt x="3995" y="4418"/>
                  </a:cubicBezTo>
                  <a:lnTo>
                    <a:pt x="4121" y="4395"/>
                  </a:lnTo>
                  <a:cubicBezTo>
                    <a:pt x="4185" y="4383"/>
                    <a:pt x="4250" y="4410"/>
                    <a:pt x="4287" y="4463"/>
                  </a:cubicBezTo>
                  <a:cubicBezTo>
                    <a:pt x="4334" y="4531"/>
                    <a:pt x="4414" y="4565"/>
                    <a:pt x="4524" y="4565"/>
                  </a:cubicBezTo>
                  <a:cubicBezTo>
                    <a:pt x="4693" y="4565"/>
                    <a:pt x="4693" y="4498"/>
                    <a:pt x="4693" y="4475"/>
                  </a:cubicBezTo>
                  <a:cubicBezTo>
                    <a:pt x="4693" y="4443"/>
                    <a:pt x="4681" y="4420"/>
                    <a:pt x="4656" y="4402"/>
                  </a:cubicBezTo>
                  <a:cubicBezTo>
                    <a:pt x="4629" y="4384"/>
                    <a:pt x="4581" y="4367"/>
                    <a:pt x="4512" y="4353"/>
                  </a:cubicBezTo>
                  <a:cubicBezTo>
                    <a:pt x="4237" y="4297"/>
                    <a:pt x="4059" y="4224"/>
                    <a:pt x="3985" y="4136"/>
                  </a:cubicBezTo>
                  <a:cubicBezTo>
                    <a:pt x="3909" y="4048"/>
                    <a:pt x="3872" y="3948"/>
                    <a:pt x="3872" y="3833"/>
                  </a:cubicBezTo>
                  <a:cubicBezTo>
                    <a:pt x="3872" y="3707"/>
                    <a:pt x="3914" y="3595"/>
                    <a:pt x="3995" y="3497"/>
                  </a:cubicBezTo>
                  <a:cubicBezTo>
                    <a:pt x="4074" y="3403"/>
                    <a:pt x="4195" y="3342"/>
                    <a:pt x="4355" y="3316"/>
                  </a:cubicBezTo>
                  <a:lnTo>
                    <a:pt x="4355" y="3124"/>
                  </a:lnTo>
                  <a:cubicBezTo>
                    <a:pt x="4355" y="3033"/>
                    <a:pt x="4429" y="2959"/>
                    <a:pt x="4520" y="2959"/>
                  </a:cubicBezTo>
                  <a:cubicBezTo>
                    <a:pt x="4612" y="2959"/>
                    <a:pt x="4686" y="3033"/>
                    <a:pt x="4686" y="3124"/>
                  </a:cubicBezTo>
                  <a:lnTo>
                    <a:pt x="4686" y="3319"/>
                  </a:lnTo>
                  <a:cubicBezTo>
                    <a:pt x="4829" y="3346"/>
                    <a:pt x="4940" y="3404"/>
                    <a:pt x="5024" y="3494"/>
                  </a:cubicBezTo>
                  <a:cubicBezTo>
                    <a:pt x="5063" y="3536"/>
                    <a:pt x="5078" y="3595"/>
                    <a:pt x="5064" y="3650"/>
                  </a:cubicBezTo>
                  <a:cubicBezTo>
                    <a:pt x="5049" y="3705"/>
                    <a:pt x="5007" y="3749"/>
                    <a:pt x="4953" y="3766"/>
                  </a:cubicBezTo>
                  <a:lnTo>
                    <a:pt x="4867" y="3793"/>
                  </a:lnTo>
                  <a:cubicBezTo>
                    <a:pt x="4805" y="3812"/>
                    <a:pt x="4737" y="3793"/>
                    <a:pt x="4693" y="3744"/>
                  </a:cubicBezTo>
                  <a:cubicBezTo>
                    <a:pt x="4650" y="3696"/>
                    <a:pt x="4586" y="3671"/>
                    <a:pt x="4503" y="3671"/>
                  </a:cubicBezTo>
                  <a:cubicBezTo>
                    <a:pt x="4436" y="3671"/>
                    <a:pt x="4356" y="3687"/>
                    <a:pt x="4356" y="3763"/>
                  </a:cubicBezTo>
                  <a:cubicBezTo>
                    <a:pt x="4356" y="3785"/>
                    <a:pt x="4364" y="3804"/>
                    <a:pt x="4379" y="3819"/>
                  </a:cubicBezTo>
                  <a:cubicBezTo>
                    <a:pt x="4396" y="3835"/>
                    <a:pt x="4444" y="3852"/>
                    <a:pt x="4521" y="3870"/>
                  </a:cubicBezTo>
                  <a:cubicBezTo>
                    <a:pt x="4701" y="3909"/>
                    <a:pt x="4832" y="3945"/>
                    <a:pt x="4910" y="3976"/>
                  </a:cubicBezTo>
                  <a:cubicBezTo>
                    <a:pt x="4990" y="4008"/>
                    <a:pt x="5057" y="4062"/>
                    <a:pt x="5110" y="4137"/>
                  </a:cubicBezTo>
                  <a:cubicBezTo>
                    <a:pt x="5162" y="4213"/>
                    <a:pt x="5189" y="4303"/>
                    <a:pt x="5189" y="4406"/>
                  </a:cubicBezTo>
                  <a:cubicBezTo>
                    <a:pt x="5189" y="4550"/>
                    <a:pt x="5137" y="4672"/>
                    <a:pt x="5035" y="4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B6E5FD5-A833-4736-8FE3-5E41D730087E}"/>
                </a:ext>
              </a:extLst>
            </p:cNvPr>
            <p:cNvSpPr txBox="1"/>
            <p:nvPr/>
          </p:nvSpPr>
          <p:spPr>
            <a:xfrm>
              <a:off x="5376038" y="3451675"/>
              <a:ext cx="1387448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DCCC23F2-1E4F-4321-A9F4-B354ADAEC557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3433811"/>
              <a:ext cx="379402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060A4BE6-AA38-4F0A-A992-1E7CD0EE6293}"/>
                </a:ext>
              </a:extLst>
            </p:cNvPr>
            <p:cNvCxnSpPr>
              <a:cxnSpLocks/>
            </p:cNvCxnSpPr>
            <p:nvPr/>
          </p:nvCxnSpPr>
          <p:spPr>
            <a:xfrm>
              <a:off x="7726461" y="3433811"/>
              <a:ext cx="379402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FAA034FA-D461-484D-9534-972C90AA2488}"/>
                </a:ext>
              </a:extLst>
            </p:cNvPr>
            <p:cNvGrpSpPr/>
            <p:nvPr/>
          </p:nvGrpSpPr>
          <p:grpSpPr>
            <a:xfrm>
              <a:off x="673101" y="1419801"/>
              <a:ext cx="2428318" cy="1094393"/>
              <a:chOff x="673101" y="1535685"/>
              <a:chExt cx="2098380" cy="1094393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61E909B5-8FBF-4805-B31C-F4EF2C6F0053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DC4001D2-ACA8-4231-A4CA-34B9A7B3E204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4FDFE46-738D-4D92-A99C-4F0B3B67EF3C}"/>
                </a:ext>
              </a:extLst>
            </p:cNvPr>
            <p:cNvGrpSpPr/>
            <p:nvPr/>
          </p:nvGrpSpPr>
          <p:grpSpPr>
            <a:xfrm>
              <a:off x="673101" y="4163105"/>
              <a:ext cx="2428318" cy="1094393"/>
              <a:chOff x="673101" y="1535685"/>
              <a:chExt cx="2098380" cy="1094393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1AC58C3F-A6EE-4B56-8964-9CF1949AA58F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F8122052-C694-40D7-B0CF-A4BAE1B7942D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742F39A7-90DA-4B4E-831F-58B513692123}"/>
                </a:ext>
              </a:extLst>
            </p:cNvPr>
            <p:cNvGrpSpPr/>
            <p:nvPr/>
          </p:nvGrpSpPr>
          <p:grpSpPr>
            <a:xfrm>
              <a:off x="9090600" y="1419801"/>
              <a:ext cx="2428318" cy="1094393"/>
              <a:chOff x="673101" y="1535685"/>
              <a:chExt cx="2098380" cy="1094393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33213192-4BFF-4518-963C-AD0E8CD08D44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7C0E56B8-16A8-490E-92E2-19912B4EBB40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28E0420B-14C8-4F5F-89FB-9D2D5416757A}"/>
                </a:ext>
              </a:extLst>
            </p:cNvPr>
            <p:cNvGrpSpPr/>
            <p:nvPr/>
          </p:nvGrpSpPr>
          <p:grpSpPr>
            <a:xfrm>
              <a:off x="9090600" y="4163105"/>
              <a:ext cx="2428318" cy="1094393"/>
              <a:chOff x="673101" y="1535685"/>
              <a:chExt cx="2098380" cy="1094393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2499157A-727E-4CB0-AC03-079625A7BEBB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51A2F8BC-5197-4F71-8787-7832F9D2144B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28448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F85C6DB-D162-4530-841A-387AEA173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67809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2"/>
              <a:ext cx="2739853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2" y="2254444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800" b="1" dirty="0">
                  <a:cs typeface="+mn-ea"/>
                  <a:sym typeface="+mn-lt"/>
                </a:rPr>
                <a:t>Supporting text here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4BF9CA-DC4D-40AD-9E16-0E845E1DD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E6E3219-D1BE-43BB-BE95-73A67B5E34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E35337-DDB0-458E-904A-F4CA8E080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65A8D42-F081-411A-A5AE-97F9F03F9A0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981812"/>
            <a:ext cx="10850563" cy="3657600"/>
            <a:chOff x="669925" y="1981812"/>
            <a:chExt cx="10850563" cy="36576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A46BADC-B60B-4B64-947A-F76DFA4460AD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3810612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9B844CE-60DA-4BFD-8903-D9E736021AC4}"/>
                </a:ext>
              </a:extLst>
            </p:cNvPr>
            <p:cNvSpPr/>
            <p:nvPr/>
          </p:nvSpPr>
          <p:spPr>
            <a:xfrm>
              <a:off x="4267200" y="1981812"/>
              <a:ext cx="1828800" cy="1828800"/>
            </a:xfrm>
            <a:custGeom>
              <a:avLst/>
              <a:gdLst>
                <a:gd name="connsiteX0" fmla="*/ 1828800 w 1828800"/>
                <a:gd name="connsiteY0" fmla="*/ 0 h 1828800"/>
                <a:gd name="connsiteX1" fmla="*/ 1828800 w 1828800"/>
                <a:gd name="connsiteY1" fmla="*/ 828410 h 1828800"/>
                <a:gd name="connsiteX2" fmla="*/ 828410 w 1828800"/>
                <a:gd name="connsiteY2" fmla="*/ 1828800 h 1828800"/>
                <a:gd name="connsiteX3" fmla="*/ 0 w 1828800"/>
                <a:gd name="connsiteY3" fmla="*/ 1828800 h 1828800"/>
                <a:gd name="connsiteX4" fmla="*/ 182880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828800" y="0"/>
                  </a:moveTo>
                  <a:lnTo>
                    <a:pt x="1828800" y="828410"/>
                  </a:lnTo>
                  <a:cubicBezTo>
                    <a:pt x="1276300" y="828410"/>
                    <a:pt x="828410" y="1276300"/>
                    <a:pt x="828410" y="1828800"/>
                  </a:cubicBezTo>
                  <a:lnTo>
                    <a:pt x="0" y="1828800"/>
                  </a:lnTo>
                  <a:cubicBezTo>
                    <a:pt x="0" y="818782"/>
                    <a:pt x="818782" y="0"/>
                    <a:pt x="182880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71216FB-78BE-4232-9514-5F344D05BF67}"/>
                </a:ext>
              </a:extLst>
            </p:cNvPr>
            <p:cNvSpPr/>
            <p:nvPr/>
          </p:nvSpPr>
          <p:spPr>
            <a:xfrm>
              <a:off x="6096000" y="19818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1000390 w 1828800"/>
                <a:gd name="connsiteY2" fmla="*/ 1828800 h 1828800"/>
                <a:gd name="connsiteX3" fmla="*/ 0 w 1828800"/>
                <a:gd name="connsiteY3" fmla="*/ 82841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cubicBezTo>
                    <a:pt x="1010018" y="0"/>
                    <a:pt x="1828800" y="818782"/>
                    <a:pt x="1828800" y="1828800"/>
                  </a:cubicBezTo>
                  <a:lnTo>
                    <a:pt x="1000390" y="1828800"/>
                  </a:lnTo>
                  <a:cubicBezTo>
                    <a:pt x="1000390" y="1276300"/>
                    <a:pt x="552500" y="828410"/>
                    <a:pt x="0" y="82841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0271364-68D5-45E9-BD88-0FAC44623FFF}"/>
                </a:ext>
              </a:extLst>
            </p:cNvPr>
            <p:cNvSpPr/>
            <p:nvPr/>
          </p:nvSpPr>
          <p:spPr>
            <a:xfrm>
              <a:off x="4267200" y="38106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828410 w 1828800"/>
                <a:gd name="connsiteY1" fmla="*/ 0 h 1828800"/>
                <a:gd name="connsiteX2" fmla="*/ 1828800 w 1828800"/>
                <a:gd name="connsiteY2" fmla="*/ 1000390 h 1828800"/>
                <a:gd name="connsiteX3" fmla="*/ 1828800 w 1828800"/>
                <a:gd name="connsiteY3" fmla="*/ 1828800 h 1828800"/>
                <a:gd name="connsiteX4" fmla="*/ 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828410" y="0"/>
                  </a:lnTo>
                  <a:cubicBezTo>
                    <a:pt x="828410" y="552500"/>
                    <a:pt x="1276300" y="1000390"/>
                    <a:pt x="1828800" y="1000390"/>
                  </a:cubicBezTo>
                  <a:lnTo>
                    <a:pt x="1828800" y="1828800"/>
                  </a:lnTo>
                  <a:cubicBezTo>
                    <a:pt x="818782" y="1828800"/>
                    <a:pt x="0" y="1010018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17FBDDF-595F-44CA-B7FF-263D965A4FD2}"/>
                </a:ext>
              </a:extLst>
            </p:cNvPr>
            <p:cNvSpPr/>
            <p:nvPr/>
          </p:nvSpPr>
          <p:spPr>
            <a:xfrm>
              <a:off x="6096000" y="3810612"/>
              <a:ext cx="1828800" cy="1828800"/>
            </a:xfrm>
            <a:custGeom>
              <a:avLst/>
              <a:gdLst>
                <a:gd name="connsiteX0" fmla="*/ 1000390 w 1828800"/>
                <a:gd name="connsiteY0" fmla="*/ 0 h 1828800"/>
                <a:gd name="connsiteX1" fmla="*/ 1828800 w 1828800"/>
                <a:gd name="connsiteY1" fmla="*/ 0 h 1828800"/>
                <a:gd name="connsiteX2" fmla="*/ 0 w 1828800"/>
                <a:gd name="connsiteY2" fmla="*/ 1828800 h 1828800"/>
                <a:gd name="connsiteX3" fmla="*/ 0 w 1828800"/>
                <a:gd name="connsiteY3" fmla="*/ 1000390 h 1828800"/>
                <a:gd name="connsiteX4" fmla="*/ 100039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000390" y="0"/>
                  </a:moveTo>
                  <a:lnTo>
                    <a:pt x="1828800" y="0"/>
                  </a:lnTo>
                  <a:cubicBezTo>
                    <a:pt x="1828800" y="1010018"/>
                    <a:pt x="1010018" y="1828800"/>
                    <a:pt x="0" y="1828800"/>
                  </a:cubicBezTo>
                  <a:lnTo>
                    <a:pt x="0" y="1000390"/>
                  </a:lnTo>
                  <a:cubicBezTo>
                    <a:pt x="552500" y="1000390"/>
                    <a:pt x="1000390" y="552500"/>
                    <a:pt x="100039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弧形 10">
              <a:extLst>
                <a:ext uri="{FF2B5EF4-FFF2-40B4-BE49-F238E27FC236}">
                  <a16:creationId xmlns:a16="http://schemas.microsoft.com/office/drawing/2014/main" id="{8739F28E-EABA-44C2-8292-FBA564871727}"/>
                </a:ext>
              </a:extLst>
            </p:cNvPr>
            <p:cNvSpPr/>
            <p:nvPr/>
          </p:nvSpPr>
          <p:spPr>
            <a:xfrm>
              <a:off x="5282736" y="2997348"/>
              <a:ext cx="1626528" cy="1626528"/>
            </a:xfrm>
            <a:prstGeom prst="arc">
              <a:avLst>
                <a:gd name="adj1" fmla="val 16200000"/>
                <a:gd name="adj2" fmla="val 12593692"/>
              </a:avLst>
            </a:prstGeom>
            <a:ln w="1016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D59817A-C56A-4B32-97B6-B281EBF7A8BB}"/>
                </a:ext>
              </a:extLst>
            </p:cNvPr>
            <p:cNvSpPr txBox="1"/>
            <p:nvPr/>
          </p:nvSpPr>
          <p:spPr>
            <a:xfrm>
              <a:off x="5353053" y="3919089"/>
              <a:ext cx="1485898" cy="32316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200">
                  <a:cs typeface="+mn-ea"/>
                  <a:sym typeface="+mn-lt"/>
                </a:rPr>
                <a:t>…Text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5F7CADFF-8E57-4883-9FCD-4503AFDC63ED}"/>
                </a:ext>
              </a:extLst>
            </p:cNvPr>
            <p:cNvSpPr/>
            <p:nvPr/>
          </p:nvSpPr>
          <p:spPr>
            <a:xfrm>
              <a:off x="5643795" y="3391769"/>
              <a:ext cx="904414" cy="523006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/>
              <a:r>
                <a:rPr lang="en-US" altLang="zh-CN" sz="2400" b="1">
                  <a:solidFill>
                    <a:sysClr val="windowText" lastClr="000000"/>
                  </a:solidFill>
                  <a:cs typeface="+mn-ea"/>
                  <a:sym typeface="+mn-lt"/>
                </a:rPr>
                <a:t>95%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04D955C7-B323-4907-959D-6EC05218B24B}"/>
                </a:ext>
              </a:extLst>
            </p:cNvPr>
            <p:cNvGrpSpPr/>
            <p:nvPr/>
          </p:nvGrpSpPr>
          <p:grpSpPr>
            <a:xfrm>
              <a:off x="4456743" y="2360898"/>
              <a:ext cx="636450" cy="636450"/>
              <a:chOff x="1781542" y="2092055"/>
              <a:chExt cx="1153768" cy="1153768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DE10733D-B809-4EE5-BEE5-77A36133EEE9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4FA2BB7B-1612-442A-A376-AA336644F8BA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4FA114BC-AA1A-477E-965F-1BAA91215E3A}"/>
                </a:ext>
              </a:extLst>
            </p:cNvPr>
            <p:cNvGrpSpPr/>
            <p:nvPr/>
          </p:nvGrpSpPr>
          <p:grpSpPr>
            <a:xfrm>
              <a:off x="7111536" y="2360898"/>
              <a:ext cx="636450" cy="636450"/>
              <a:chOff x="1781542" y="2092055"/>
              <a:chExt cx="1153768" cy="115376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DEA5D0FD-E46F-4887-AF23-769BDC3216AB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C4EBF9A7-C54B-4F6A-AB81-FA33D90D89A0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BA92B6D0-7F15-40FC-AF81-0E1A7BFFC63A}"/>
                </a:ext>
              </a:extLst>
            </p:cNvPr>
            <p:cNvGrpSpPr/>
            <p:nvPr/>
          </p:nvGrpSpPr>
          <p:grpSpPr>
            <a:xfrm>
              <a:off x="4456743" y="4623876"/>
              <a:ext cx="636450" cy="636450"/>
              <a:chOff x="1781542" y="2092055"/>
              <a:chExt cx="1153768" cy="115376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CDA0A867-E89F-44C8-9322-67E8D3FD4096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D991D603-92F2-42DD-AD05-E4E12D3A4697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099D45F-AE68-465E-BA44-9A9EE9A3BEB8}"/>
                </a:ext>
              </a:extLst>
            </p:cNvPr>
            <p:cNvGrpSpPr/>
            <p:nvPr/>
          </p:nvGrpSpPr>
          <p:grpSpPr>
            <a:xfrm>
              <a:off x="7111536" y="4623876"/>
              <a:ext cx="636450" cy="636450"/>
              <a:chOff x="1781542" y="2092055"/>
              <a:chExt cx="1153768" cy="115376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300C882C-C300-4615-A670-891182A293F4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8E087CE9-CFA1-4AC0-AE02-0E8D788D2C0F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75148CCF-4C7D-438E-9B28-E584D8A402FE}"/>
                </a:ext>
              </a:extLst>
            </p:cNvPr>
            <p:cNvCxnSpPr>
              <a:cxnSpLocks/>
            </p:cNvCxnSpPr>
            <p:nvPr/>
          </p:nvCxnSpPr>
          <p:spPr>
            <a:xfrm>
              <a:off x="8047038" y="3810612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BEA74819-78CE-4708-A975-B3207BD8D2EB}"/>
                </a:ext>
              </a:extLst>
            </p:cNvPr>
            <p:cNvGrpSpPr/>
            <p:nvPr/>
          </p:nvGrpSpPr>
          <p:grpSpPr>
            <a:xfrm>
              <a:off x="963044" y="2165255"/>
              <a:ext cx="2621280" cy="1226514"/>
              <a:chOff x="660400" y="1766959"/>
              <a:chExt cx="2011803" cy="1226514"/>
            </a:xfrm>
          </p:grpSpPr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B3659473-2D64-41EE-919B-6B4D5B7426F3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F9FE30CC-EAFE-45E4-87D3-4D46999E9AF5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551A10DD-665B-4FD3-9053-F49541EA7B22}"/>
                </a:ext>
              </a:extLst>
            </p:cNvPr>
            <p:cNvGrpSpPr/>
            <p:nvPr/>
          </p:nvGrpSpPr>
          <p:grpSpPr>
            <a:xfrm>
              <a:off x="963044" y="4412898"/>
              <a:ext cx="2621280" cy="1226514"/>
              <a:chOff x="660400" y="1766959"/>
              <a:chExt cx="2011803" cy="1226514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F434EF19-A701-4CD5-BEAA-6E56EEE939B1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E8F48B72-40DE-4CAD-93FB-90A8B8F5EC8E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6D2D475-5559-45E7-BD84-327353A7E09D}"/>
                </a:ext>
              </a:extLst>
            </p:cNvPr>
            <p:cNvGrpSpPr/>
            <p:nvPr/>
          </p:nvGrpSpPr>
          <p:grpSpPr>
            <a:xfrm>
              <a:off x="8563994" y="2165255"/>
              <a:ext cx="2621280" cy="1226514"/>
              <a:chOff x="660400" y="1766959"/>
              <a:chExt cx="2011803" cy="1226514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D353C37F-1BB3-4859-84CA-3C18A1E35F2F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878F2FDE-5B00-44C5-A6F2-7EC82C751987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4E6D90B4-B490-4EE4-B91C-DE0FE3B1E8C9}"/>
                </a:ext>
              </a:extLst>
            </p:cNvPr>
            <p:cNvGrpSpPr/>
            <p:nvPr/>
          </p:nvGrpSpPr>
          <p:grpSpPr>
            <a:xfrm>
              <a:off x="8563994" y="4412898"/>
              <a:ext cx="2621280" cy="1226514"/>
              <a:chOff x="660400" y="1766959"/>
              <a:chExt cx="2011803" cy="1226514"/>
            </a:xfrm>
          </p:grpSpPr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08798F12-C223-4B3E-8781-BA04E712478C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7DC874F-BD58-4307-8718-F60EA83DD194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5305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E59E3F-6E9B-4506-9578-A3948B116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B1A8135-3940-4EDF-93A2-CFF70FD92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4610B5-24C9-4804-BAD7-820CFBF1E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84AC07C-5123-4126-A7F9-CCCC0F6665FF}"/>
              </a:ext>
            </a:extLst>
          </p:cNvPr>
          <p:cNvGrpSpPr>
            <a:grpSpLocks noChangeAspect="1"/>
          </p:cNvGrpSpPr>
          <p:nvPr/>
        </p:nvGrpSpPr>
        <p:grpSpPr>
          <a:xfrm>
            <a:off x="963044" y="1454446"/>
            <a:ext cx="10555856" cy="4381204"/>
            <a:chOff x="963044" y="1454446"/>
            <a:chExt cx="10555856" cy="4381204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57B6000A-BC26-4226-9679-D7E0ABB9EB17}"/>
                </a:ext>
              </a:extLst>
            </p:cNvPr>
            <p:cNvSpPr txBox="1"/>
            <p:nvPr/>
          </p:nvSpPr>
          <p:spPr>
            <a:xfrm>
              <a:off x="9305925" y="1685289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 dirty="0">
                  <a:cs typeface="+mn-ea"/>
                  <a:sym typeface="+mn-lt"/>
                </a:rPr>
                <a:t>Supporting </a:t>
              </a:r>
              <a:r>
                <a:rPr lang="en-US" altLang="zh-CN">
                  <a:cs typeface="+mn-ea"/>
                  <a:sym typeface="+mn-lt"/>
                </a:rPr>
                <a:t>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3233B575-1BF3-4794-8025-9ECCF325317C}"/>
                </a:ext>
              </a:extLst>
            </p:cNvPr>
            <p:cNvSpPr txBox="1"/>
            <p:nvPr/>
          </p:nvSpPr>
          <p:spPr>
            <a:xfrm>
              <a:off x="9305925" y="2556391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379FA9ED-2A36-4C2F-8BD5-6D0F80FD81F7}"/>
                </a:ext>
              </a:extLst>
            </p:cNvPr>
            <p:cNvSpPr txBox="1"/>
            <p:nvPr/>
          </p:nvSpPr>
          <p:spPr>
            <a:xfrm>
              <a:off x="9305925" y="3427492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88A62A2B-6CA5-44F6-966C-3589C572843A}"/>
                </a:ext>
              </a:extLst>
            </p:cNvPr>
            <p:cNvSpPr txBox="1"/>
            <p:nvPr/>
          </p:nvSpPr>
          <p:spPr>
            <a:xfrm>
              <a:off x="9305925" y="4298594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80B6B95E-0886-4E02-B393-4BB8A08692E6}"/>
                </a:ext>
              </a:extLst>
            </p:cNvPr>
            <p:cNvSpPr txBox="1"/>
            <p:nvPr/>
          </p:nvSpPr>
          <p:spPr>
            <a:xfrm>
              <a:off x="9305925" y="5169695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AC01876B-18FA-4F16-A001-E570FFFC922E}"/>
                </a:ext>
              </a:extLst>
            </p:cNvPr>
            <p:cNvCxnSpPr>
              <a:stCxn id="16" idx="0"/>
            </p:cNvCxnSpPr>
            <p:nvPr/>
          </p:nvCxnSpPr>
          <p:spPr>
            <a:xfrm>
              <a:off x="5584411" y="2325548"/>
              <a:ext cx="59344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0402676D-E47F-4CE6-BC8D-4756E2635FDF}"/>
                </a:ext>
              </a:extLst>
            </p:cNvPr>
            <p:cNvCxnSpPr>
              <a:stCxn id="17" idx="0"/>
            </p:cNvCxnSpPr>
            <p:nvPr/>
          </p:nvCxnSpPr>
          <p:spPr>
            <a:xfrm>
              <a:off x="5079172" y="3196649"/>
              <a:ext cx="643972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331760B-05E2-4467-A0D7-F4F757B4508E}"/>
                </a:ext>
              </a:extLst>
            </p:cNvPr>
            <p:cNvCxnSpPr>
              <a:stCxn id="18" idx="0"/>
            </p:cNvCxnSpPr>
            <p:nvPr/>
          </p:nvCxnSpPr>
          <p:spPr>
            <a:xfrm>
              <a:off x="4573933" y="4067751"/>
              <a:ext cx="694496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882A8E9D-56EE-47EA-8DD0-865B50368EFA}"/>
                </a:ext>
              </a:extLst>
            </p:cNvPr>
            <p:cNvCxnSpPr>
              <a:stCxn id="19" idx="0"/>
            </p:cNvCxnSpPr>
            <p:nvPr/>
          </p:nvCxnSpPr>
          <p:spPr>
            <a:xfrm>
              <a:off x="4068694" y="4938852"/>
              <a:ext cx="745020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973146A-BADB-4F9B-A1DB-B447A3EC4775}"/>
                </a:ext>
              </a:extLst>
            </p:cNvPr>
            <p:cNvSpPr/>
            <p:nvPr/>
          </p:nvSpPr>
          <p:spPr>
            <a:xfrm>
              <a:off x="5584411" y="1454446"/>
              <a:ext cx="1010478" cy="871102"/>
            </a:xfrm>
            <a:custGeom>
              <a:avLst/>
              <a:gdLst>
                <a:gd name="connsiteX0" fmla="*/ 543195 w 1086391"/>
                <a:gd name="connsiteY0" fmla="*/ 0 h 936544"/>
                <a:gd name="connsiteX1" fmla="*/ 1086391 w 1086391"/>
                <a:gd name="connsiteY1" fmla="*/ 936544 h 936544"/>
                <a:gd name="connsiteX2" fmla="*/ 0 w 1086391"/>
                <a:gd name="connsiteY2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6391" h="936544">
                  <a:moveTo>
                    <a:pt x="543195" y="0"/>
                  </a:moveTo>
                  <a:lnTo>
                    <a:pt x="1086391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8D31178-4E86-40D2-B541-B028B51C5F07}"/>
                </a:ext>
              </a:extLst>
            </p:cNvPr>
            <p:cNvSpPr/>
            <p:nvPr/>
          </p:nvSpPr>
          <p:spPr>
            <a:xfrm>
              <a:off x="5079172" y="2325548"/>
              <a:ext cx="2020956" cy="871102"/>
            </a:xfrm>
            <a:custGeom>
              <a:avLst/>
              <a:gdLst>
                <a:gd name="connsiteX0" fmla="*/ 543196 w 2172782"/>
                <a:gd name="connsiteY0" fmla="*/ 0 h 936544"/>
                <a:gd name="connsiteX1" fmla="*/ 1629587 w 2172782"/>
                <a:gd name="connsiteY1" fmla="*/ 0 h 936544"/>
                <a:gd name="connsiteX2" fmla="*/ 2172782 w 2172782"/>
                <a:gd name="connsiteY2" fmla="*/ 936544 h 936544"/>
                <a:gd name="connsiteX3" fmla="*/ 0 w 2172782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2782" h="936544">
                  <a:moveTo>
                    <a:pt x="543196" y="0"/>
                  </a:moveTo>
                  <a:lnTo>
                    <a:pt x="1629587" y="0"/>
                  </a:lnTo>
                  <a:lnTo>
                    <a:pt x="2172782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0119672-47C8-4429-8E00-E79AE68B45EC}"/>
                </a:ext>
              </a:extLst>
            </p:cNvPr>
            <p:cNvSpPr/>
            <p:nvPr/>
          </p:nvSpPr>
          <p:spPr>
            <a:xfrm>
              <a:off x="4573934" y="3196649"/>
              <a:ext cx="3031433" cy="871102"/>
            </a:xfrm>
            <a:custGeom>
              <a:avLst/>
              <a:gdLst>
                <a:gd name="connsiteX0" fmla="*/ 543195 w 3259173"/>
                <a:gd name="connsiteY0" fmla="*/ 0 h 936544"/>
                <a:gd name="connsiteX1" fmla="*/ 2715977 w 3259173"/>
                <a:gd name="connsiteY1" fmla="*/ 0 h 936544"/>
                <a:gd name="connsiteX2" fmla="*/ 3259173 w 3259173"/>
                <a:gd name="connsiteY2" fmla="*/ 936544 h 936544"/>
                <a:gd name="connsiteX3" fmla="*/ 0 w 3259173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9173" h="936544">
                  <a:moveTo>
                    <a:pt x="543195" y="0"/>
                  </a:moveTo>
                  <a:lnTo>
                    <a:pt x="2715977" y="0"/>
                  </a:lnTo>
                  <a:lnTo>
                    <a:pt x="3259173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FBFFBC4-DCC6-4B42-967A-72E895E1344F}"/>
                </a:ext>
              </a:extLst>
            </p:cNvPr>
            <p:cNvSpPr/>
            <p:nvPr/>
          </p:nvSpPr>
          <p:spPr>
            <a:xfrm>
              <a:off x="4068694" y="4067751"/>
              <a:ext cx="4041912" cy="871102"/>
            </a:xfrm>
            <a:custGeom>
              <a:avLst/>
              <a:gdLst>
                <a:gd name="connsiteX0" fmla="*/ 543196 w 4345565"/>
                <a:gd name="connsiteY0" fmla="*/ 0 h 936544"/>
                <a:gd name="connsiteX1" fmla="*/ 3802369 w 4345565"/>
                <a:gd name="connsiteY1" fmla="*/ 0 h 936544"/>
                <a:gd name="connsiteX2" fmla="*/ 4345565 w 4345565"/>
                <a:gd name="connsiteY2" fmla="*/ 936544 h 936544"/>
                <a:gd name="connsiteX3" fmla="*/ 0 w 4345565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5565" h="936544">
                  <a:moveTo>
                    <a:pt x="543196" y="0"/>
                  </a:moveTo>
                  <a:lnTo>
                    <a:pt x="3802369" y="0"/>
                  </a:lnTo>
                  <a:lnTo>
                    <a:pt x="4345565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10E98D2-75F0-4552-84A5-8FD2D2C63118}"/>
                </a:ext>
              </a:extLst>
            </p:cNvPr>
            <p:cNvSpPr/>
            <p:nvPr/>
          </p:nvSpPr>
          <p:spPr>
            <a:xfrm>
              <a:off x="3563455" y="4938852"/>
              <a:ext cx="5052390" cy="871102"/>
            </a:xfrm>
            <a:custGeom>
              <a:avLst/>
              <a:gdLst>
                <a:gd name="connsiteX0" fmla="*/ 543196 w 5431956"/>
                <a:gd name="connsiteY0" fmla="*/ 0 h 936544"/>
                <a:gd name="connsiteX1" fmla="*/ 4888761 w 5431956"/>
                <a:gd name="connsiteY1" fmla="*/ 0 h 936544"/>
                <a:gd name="connsiteX2" fmla="*/ 5431956 w 5431956"/>
                <a:gd name="connsiteY2" fmla="*/ 936544 h 936544"/>
                <a:gd name="connsiteX3" fmla="*/ 0 w 5431956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1956" h="936544">
                  <a:moveTo>
                    <a:pt x="543196" y="0"/>
                  </a:moveTo>
                  <a:lnTo>
                    <a:pt x="4888761" y="0"/>
                  </a:lnTo>
                  <a:lnTo>
                    <a:pt x="5431956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15520820-1EED-47E1-BD5A-37C855BA89ED}"/>
                </a:ext>
              </a:extLst>
            </p:cNvPr>
            <p:cNvGrpSpPr/>
            <p:nvPr/>
          </p:nvGrpSpPr>
          <p:grpSpPr>
            <a:xfrm>
              <a:off x="1955459" y="1533823"/>
              <a:ext cx="636450" cy="636450"/>
              <a:chOff x="1781542" y="2092055"/>
              <a:chExt cx="1153768" cy="1153768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E670A388-D5A2-499E-A12B-D56FE159EC2E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E7FED716-0C24-443C-9A4A-74C51724E3C7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7AF0A7E-7599-4E74-99F1-DEF28509CF28}"/>
                </a:ext>
              </a:extLst>
            </p:cNvPr>
            <p:cNvGrpSpPr/>
            <p:nvPr/>
          </p:nvGrpSpPr>
          <p:grpSpPr>
            <a:xfrm>
              <a:off x="963044" y="2202690"/>
              <a:ext cx="2621280" cy="1226514"/>
              <a:chOff x="660400" y="1766959"/>
              <a:chExt cx="2011803" cy="1226514"/>
            </a:xfrm>
          </p:grpSpPr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7BA08205-F50D-4BB3-B6D3-FD1EF2184718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6701C2B5-535B-4D26-B64D-08884521A5CB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1822568C-6E56-4445-8B13-7D7AD7891093}"/>
                </a:ext>
              </a:extLst>
            </p:cNvPr>
            <p:cNvGrpSpPr/>
            <p:nvPr/>
          </p:nvGrpSpPr>
          <p:grpSpPr>
            <a:xfrm>
              <a:off x="1955459" y="3940269"/>
              <a:ext cx="636450" cy="636450"/>
              <a:chOff x="1781542" y="2092055"/>
              <a:chExt cx="1153768" cy="1153768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6ACF031B-88C6-4C85-8CE6-51D42034B657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77926512-C977-4842-9F6F-95C6C946E9E5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1828D545-FDA3-4F41-A886-7E5AA54D9CD9}"/>
                </a:ext>
              </a:extLst>
            </p:cNvPr>
            <p:cNvGrpSpPr/>
            <p:nvPr/>
          </p:nvGrpSpPr>
          <p:grpSpPr>
            <a:xfrm>
              <a:off x="963044" y="4609136"/>
              <a:ext cx="2621280" cy="1226514"/>
              <a:chOff x="660400" y="1766959"/>
              <a:chExt cx="2011803" cy="1226514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D30972B6-9596-4BCB-9094-E155A3B9CE05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D878E07-6303-440C-B3D0-F636A52FD8A8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4029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146681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微应用功能点，和所负责的模块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241645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车网功能点，和所负责的功能开发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期间学会了什么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自身有什么不足需要完善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1466819"/>
              <a:ext cx="163976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微应用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2416459"/>
              <a:ext cx="1639769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336609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4315739"/>
              <a:ext cx="1639768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526537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谢谢观看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谢谢观看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FBB759-2DC4-43A7-BD6D-70435B38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4E5A61-E4B1-4BFE-88F9-5FD5186AD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9F03F9-27F8-48AB-95FE-6E160043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C97F30-46D4-44DA-9336-2A04ED49EABC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54418"/>
            <a:ext cx="10845801" cy="4792382"/>
            <a:chOff x="673100" y="1354418"/>
            <a:chExt cx="10845801" cy="479238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E954A4D-5300-4298-8943-475694C28BA5}"/>
                </a:ext>
              </a:extLst>
            </p:cNvPr>
            <p:cNvSpPr/>
            <p:nvPr/>
          </p:nvSpPr>
          <p:spPr bwMode="auto">
            <a:xfrm>
              <a:off x="1559441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5655360-1676-449E-A2A4-683A8E9DD83A}"/>
                </a:ext>
              </a:extLst>
            </p:cNvPr>
            <p:cNvGrpSpPr/>
            <p:nvPr/>
          </p:nvGrpSpPr>
          <p:grpSpPr>
            <a:xfrm>
              <a:off x="673100" y="1905734"/>
              <a:ext cx="2326864" cy="1646959"/>
              <a:chOff x="983020" y="2248544"/>
              <a:chExt cx="1763279" cy="1646959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A1F86F39-251F-4601-AC8B-0126F9478D2E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F7DFF62-5653-44D7-A1AE-27950AC9128A}"/>
                </a:ext>
              </a:extLst>
            </p:cNvPr>
            <p:cNvCxnSpPr/>
            <p:nvPr/>
          </p:nvCxnSpPr>
          <p:spPr>
            <a:xfrm>
              <a:off x="3256355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对话气泡: 圆角矩形 8">
              <a:extLst>
                <a:ext uri="{FF2B5EF4-FFF2-40B4-BE49-F238E27FC236}">
                  <a16:creationId xmlns:a16="http://schemas.microsoft.com/office/drawing/2014/main" id="{CAA8467E-CE75-4FC9-BEFC-8C1A9347667C}"/>
                </a:ext>
              </a:extLst>
            </p:cNvPr>
            <p:cNvSpPr/>
            <p:nvPr/>
          </p:nvSpPr>
          <p:spPr>
            <a:xfrm rot="10800000" flipV="1">
              <a:off x="673100" y="4401671"/>
              <a:ext cx="10845800" cy="1745129"/>
            </a:xfrm>
            <a:prstGeom prst="wedgeRoundRectCallout">
              <a:avLst>
                <a:gd name="adj1" fmla="val -217"/>
                <a:gd name="adj2" fmla="val -67476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 defTabSz="913765">
                <a:buSzPct val="25000"/>
                <a:defRPr/>
              </a:pPr>
              <a:r>
                <a:rPr lang="en-US" altLang="zh-CN" sz="2800" b="1">
                  <a:solidFill>
                    <a:schemeClr val="tx1"/>
                  </a:solidFill>
                  <a:cs typeface="+mn-ea"/>
                  <a:sym typeface="+mn-lt"/>
                </a:rPr>
                <a:t>Unified fonts make reading more fluent.</a:t>
              </a:r>
              <a:endParaRPr lang="en-US" altLang="zh-CN" sz="28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30402A-FAE6-488A-9AAC-B97CF459E048}"/>
                </a:ext>
              </a:extLst>
            </p:cNvPr>
            <p:cNvSpPr/>
            <p:nvPr/>
          </p:nvSpPr>
          <p:spPr bwMode="auto">
            <a:xfrm>
              <a:off x="4399087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A27BA1F-81AC-4D8D-8AD7-A3C56B19FBBC}"/>
                </a:ext>
              </a:extLst>
            </p:cNvPr>
            <p:cNvGrpSpPr/>
            <p:nvPr/>
          </p:nvGrpSpPr>
          <p:grpSpPr>
            <a:xfrm>
              <a:off x="3512745" y="1905734"/>
              <a:ext cx="2326864" cy="1646959"/>
              <a:chOff x="983020" y="2248544"/>
              <a:chExt cx="1763279" cy="1646959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935EB0C-DB18-48C9-A84A-2172F143803E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AA42A61-10AF-4D71-8637-853CCC0FCFD7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37119200-3DDE-4017-80B7-1FAF633688C8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998D13-A47F-41AA-B512-637F01795E3C}"/>
                </a:ext>
              </a:extLst>
            </p:cNvPr>
            <p:cNvSpPr/>
            <p:nvPr/>
          </p:nvSpPr>
          <p:spPr bwMode="auto">
            <a:xfrm>
              <a:off x="7238733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7E014B0F-BB53-4BA1-94E0-083D58B65B8F}"/>
                </a:ext>
              </a:extLst>
            </p:cNvPr>
            <p:cNvGrpSpPr/>
            <p:nvPr/>
          </p:nvGrpSpPr>
          <p:grpSpPr>
            <a:xfrm>
              <a:off x="6352391" y="1905734"/>
              <a:ext cx="2326864" cy="1646959"/>
              <a:chOff x="983020" y="2248544"/>
              <a:chExt cx="1763279" cy="1646959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51C1B4E2-BAED-40E6-BE63-973C80F0EA35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4027BF0C-DC91-461C-9917-B0CCA75BAD6A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E7412894-546B-4682-8EEA-EE2807B27219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1D50107-6A75-436A-9319-1C7D8AFCFB88}"/>
                </a:ext>
              </a:extLst>
            </p:cNvPr>
            <p:cNvSpPr/>
            <p:nvPr/>
          </p:nvSpPr>
          <p:spPr bwMode="auto">
            <a:xfrm>
              <a:off x="10078378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26D73AF-2A93-4B80-B656-A0F2F2F4E31E}"/>
                </a:ext>
              </a:extLst>
            </p:cNvPr>
            <p:cNvGrpSpPr/>
            <p:nvPr/>
          </p:nvGrpSpPr>
          <p:grpSpPr>
            <a:xfrm>
              <a:off x="9192037" y="1905734"/>
              <a:ext cx="2326864" cy="1646959"/>
              <a:chOff x="983020" y="2248544"/>
              <a:chExt cx="1763279" cy="1646959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CA818E7-C8FB-4FB1-A9FF-42B1F77393DC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14C6946-4445-4C98-A1C2-8DADCF5CF84A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5CA11FB-1319-4051-ACB6-F98DA2357A88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4D5C6AC-5D86-4B58-A48E-0745CA7621DB}"/>
                </a:ext>
              </a:extLst>
            </p:cNvPr>
            <p:cNvCxnSpPr/>
            <p:nvPr/>
          </p:nvCxnSpPr>
          <p:spPr>
            <a:xfrm>
              <a:off x="6096001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5AF1C206-C21C-4E05-92E9-F9A48586350C}"/>
                </a:ext>
              </a:extLst>
            </p:cNvPr>
            <p:cNvCxnSpPr/>
            <p:nvPr/>
          </p:nvCxnSpPr>
          <p:spPr>
            <a:xfrm>
              <a:off x="8935646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9312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C87620-4337-4E6B-AEA3-721CBCD6D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D9473C1-4B21-46DC-9C23-7F559453F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EF36F33-3094-4821-AAD4-22B407E71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B28C089-D968-4CA5-B628-80C3C1D37C73}"/>
              </a:ext>
            </a:extLst>
          </p:cNvPr>
          <p:cNvGrpSpPr>
            <a:grpSpLocks noChangeAspect="1"/>
          </p:cNvGrpSpPr>
          <p:nvPr/>
        </p:nvGrpSpPr>
        <p:grpSpPr>
          <a:xfrm>
            <a:off x="1141587" y="1421550"/>
            <a:ext cx="9908826" cy="4432079"/>
            <a:chOff x="1141587" y="1421550"/>
            <a:chExt cx="9908826" cy="443207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7221B3B-EA3B-4C6A-BAB0-4BDE2452FCA8}"/>
                </a:ext>
              </a:extLst>
            </p:cNvPr>
            <p:cNvSpPr/>
            <p:nvPr/>
          </p:nvSpPr>
          <p:spPr>
            <a:xfrm rot="5400000">
              <a:off x="5600096" y="3066728"/>
              <a:ext cx="991839" cy="1145277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 dirty="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46A90B8-E8EF-44E0-9D9C-9FCA04EF445C}"/>
                </a:ext>
              </a:extLst>
            </p:cNvPr>
            <p:cNvSpPr/>
            <p:nvPr/>
          </p:nvSpPr>
          <p:spPr>
            <a:xfrm>
              <a:off x="4732752" y="1642205"/>
              <a:ext cx="1327091" cy="1692432"/>
            </a:xfrm>
            <a:custGeom>
              <a:avLst/>
              <a:gdLst/>
              <a:ahLst/>
              <a:cxnLst/>
              <a:rect l="l" t="t" r="r" b="b"/>
              <a:pathLst>
                <a:path w="20804" h="21600" extrusionOk="0">
                  <a:moveTo>
                    <a:pt x="8152" y="0"/>
                  </a:moveTo>
                  <a:cubicBezTo>
                    <a:pt x="6066" y="0"/>
                    <a:pt x="3980" y="649"/>
                    <a:pt x="2388" y="1945"/>
                  </a:cubicBezTo>
                  <a:cubicBezTo>
                    <a:pt x="-796" y="4537"/>
                    <a:pt x="-796" y="8739"/>
                    <a:pt x="2388" y="11330"/>
                  </a:cubicBezTo>
                  <a:cubicBezTo>
                    <a:pt x="4899" y="13375"/>
                    <a:pt x="8636" y="13800"/>
                    <a:pt x="11667" y="12620"/>
                  </a:cubicBezTo>
                  <a:lnTo>
                    <a:pt x="15523" y="17995"/>
                  </a:lnTo>
                  <a:lnTo>
                    <a:pt x="13233" y="21223"/>
                  </a:lnTo>
                  <a:lnTo>
                    <a:pt x="14028" y="21600"/>
                  </a:lnTo>
                  <a:lnTo>
                    <a:pt x="16320" y="18368"/>
                  </a:lnTo>
                  <a:lnTo>
                    <a:pt x="20804" y="18368"/>
                  </a:lnTo>
                  <a:lnTo>
                    <a:pt x="20804" y="17614"/>
                  </a:lnTo>
                  <a:lnTo>
                    <a:pt x="16343" y="17614"/>
                  </a:lnTo>
                  <a:lnTo>
                    <a:pt x="12494" y="12249"/>
                  </a:lnTo>
                  <a:cubicBezTo>
                    <a:pt x="12998" y="11990"/>
                    <a:pt x="13477" y="11688"/>
                    <a:pt x="13916" y="11330"/>
                  </a:cubicBezTo>
                  <a:cubicBezTo>
                    <a:pt x="17100" y="8739"/>
                    <a:pt x="17100" y="4537"/>
                    <a:pt x="13916" y="1945"/>
                  </a:cubicBezTo>
                  <a:cubicBezTo>
                    <a:pt x="12324" y="649"/>
                    <a:pt x="10238" y="0"/>
                    <a:pt x="8152" y="0"/>
                  </a:cubicBezTo>
                  <a:close/>
                  <a:moveTo>
                    <a:pt x="8152" y="754"/>
                  </a:moveTo>
                  <a:cubicBezTo>
                    <a:pt x="10001" y="754"/>
                    <a:pt x="11852" y="1329"/>
                    <a:pt x="13263" y="2478"/>
                  </a:cubicBezTo>
                  <a:cubicBezTo>
                    <a:pt x="16086" y="4776"/>
                    <a:pt x="16086" y="8501"/>
                    <a:pt x="13263" y="10799"/>
                  </a:cubicBezTo>
                  <a:cubicBezTo>
                    <a:pt x="10441" y="13097"/>
                    <a:pt x="5865" y="13097"/>
                    <a:pt x="3043" y="10799"/>
                  </a:cubicBezTo>
                  <a:cubicBezTo>
                    <a:pt x="221" y="8501"/>
                    <a:pt x="221" y="4776"/>
                    <a:pt x="3043" y="2478"/>
                  </a:cubicBezTo>
                  <a:cubicBezTo>
                    <a:pt x="4454" y="1329"/>
                    <a:pt x="6303" y="754"/>
                    <a:pt x="8152" y="7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96F1514-1A20-4380-8823-1951871C597F}"/>
                </a:ext>
              </a:extLst>
            </p:cNvPr>
            <p:cNvSpPr/>
            <p:nvPr/>
          </p:nvSpPr>
          <p:spPr>
            <a:xfrm>
              <a:off x="6120051" y="1642205"/>
              <a:ext cx="1353886" cy="1689688"/>
            </a:xfrm>
            <a:custGeom>
              <a:avLst/>
              <a:gdLst/>
              <a:ahLst/>
              <a:cxnLst/>
              <a:rect l="l" t="t" r="r" b="b"/>
              <a:pathLst>
                <a:path w="20819" h="21600" extrusionOk="0">
                  <a:moveTo>
                    <a:pt x="12823" y="0"/>
                  </a:moveTo>
                  <a:cubicBezTo>
                    <a:pt x="10776" y="0"/>
                    <a:pt x="8730" y="650"/>
                    <a:pt x="7168" y="1948"/>
                  </a:cubicBezTo>
                  <a:cubicBezTo>
                    <a:pt x="4045" y="4544"/>
                    <a:pt x="4045" y="8753"/>
                    <a:pt x="7168" y="11349"/>
                  </a:cubicBezTo>
                  <a:cubicBezTo>
                    <a:pt x="7550" y="11666"/>
                    <a:pt x="7960" y="11943"/>
                    <a:pt x="8392" y="12182"/>
                  </a:cubicBezTo>
                  <a:lnTo>
                    <a:pt x="4535" y="17642"/>
                  </a:lnTo>
                  <a:lnTo>
                    <a:pt x="0" y="17642"/>
                  </a:lnTo>
                  <a:lnTo>
                    <a:pt x="0" y="18398"/>
                  </a:lnTo>
                  <a:lnTo>
                    <a:pt x="4585" y="18398"/>
                  </a:lnTo>
                  <a:lnTo>
                    <a:pt x="6809" y="21600"/>
                  </a:lnTo>
                  <a:lnTo>
                    <a:pt x="7593" y="21229"/>
                  </a:lnTo>
                  <a:lnTo>
                    <a:pt x="5354" y="18001"/>
                  </a:lnTo>
                  <a:lnTo>
                    <a:pt x="9194" y="12570"/>
                  </a:lnTo>
                  <a:cubicBezTo>
                    <a:pt x="12197" y="13843"/>
                    <a:pt x="15964" y="13438"/>
                    <a:pt x="18477" y="11349"/>
                  </a:cubicBezTo>
                  <a:cubicBezTo>
                    <a:pt x="21600" y="8753"/>
                    <a:pt x="21600" y="4544"/>
                    <a:pt x="18477" y="1948"/>
                  </a:cubicBezTo>
                  <a:cubicBezTo>
                    <a:pt x="16916" y="650"/>
                    <a:pt x="14869" y="0"/>
                    <a:pt x="12823" y="0"/>
                  </a:cubicBezTo>
                  <a:close/>
                  <a:moveTo>
                    <a:pt x="12823" y="755"/>
                  </a:moveTo>
                  <a:cubicBezTo>
                    <a:pt x="14637" y="755"/>
                    <a:pt x="16452" y="1332"/>
                    <a:pt x="17837" y="2482"/>
                  </a:cubicBezTo>
                  <a:cubicBezTo>
                    <a:pt x="20605" y="4784"/>
                    <a:pt x="20605" y="8515"/>
                    <a:pt x="17837" y="10817"/>
                  </a:cubicBezTo>
                  <a:cubicBezTo>
                    <a:pt x="15068" y="13118"/>
                    <a:pt x="10580" y="13118"/>
                    <a:pt x="7811" y="10817"/>
                  </a:cubicBezTo>
                  <a:cubicBezTo>
                    <a:pt x="5043" y="8515"/>
                    <a:pt x="5043" y="4784"/>
                    <a:pt x="7811" y="2482"/>
                  </a:cubicBezTo>
                  <a:cubicBezTo>
                    <a:pt x="9195" y="1332"/>
                    <a:pt x="11009" y="755"/>
                    <a:pt x="12823" y="7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8970F29-2DBB-4B0C-BAB3-0C36771349D0}"/>
                </a:ext>
              </a:extLst>
            </p:cNvPr>
            <p:cNvSpPr/>
            <p:nvPr/>
          </p:nvSpPr>
          <p:spPr>
            <a:xfrm>
              <a:off x="6591381" y="3120600"/>
              <a:ext cx="1729659" cy="1040096"/>
            </a:xfrm>
            <a:custGeom>
              <a:avLst/>
              <a:gdLst/>
              <a:ahLst/>
              <a:cxnLst/>
              <a:rect l="l" t="t" r="r" b="b"/>
              <a:pathLst>
                <a:path w="20984" h="20595" extrusionOk="0">
                  <a:moveTo>
                    <a:pt x="14675" y="0"/>
                  </a:moveTo>
                  <a:cubicBezTo>
                    <a:pt x="13061" y="0"/>
                    <a:pt x="11446" y="1007"/>
                    <a:pt x="10214" y="3017"/>
                  </a:cubicBezTo>
                  <a:cubicBezTo>
                    <a:pt x="9083" y="4863"/>
                    <a:pt x="8478" y="7236"/>
                    <a:pt x="8385" y="9652"/>
                  </a:cubicBezTo>
                  <a:lnTo>
                    <a:pt x="2411" y="9652"/>
                  </a:lnTo>
                  <a:lnTo>
                    <a:pt x="636" y="4641"/>
                  </a:lnTo>
                  <a:lnTo>
                    <a:pt x="18" y="5216"/>
                  </a:lnTo>
                  <a:lnTo>
                    <a:pt x="1807" y="10272"/>
                  </a:lnTo>
                  <a:lnTo>
                    <a:pt x="0" y="15380"/>
                  </a:lnTo>
                  <a:lnTo>
                    <a:pt x="607" y="15958"/>
                  </a:lnTo>
                  <a:lnTo>
                    <a:pt x="2416" y="10844"/>
                  </a:lnTo>
                  <a:lnTo>
                    <a:pt x="8381" y="10844"/>
                  </a:lnTo>
                  <a:cubicBezTo>
                    <a:pt x="8461" y="13294"/>
                    <a:pt x="9068" y="15707"/>
                    <a:pt x="10214" y="17579"/>
                  </a:cubicBezTo>
                  <a:cubicBezTo>
                    <a:pt x="12678" y="21600"/>
                    <a:pt x="16672" y="21600"/>
                    <a:pt x="19136" y="17579"/>
                  </a:cubicBezTo>
                  <a:cubicBezTo>
                    <a:pt x="21600" y="13557"/>
                    <a:pt x="21600" y="7038"/>
                    <a:pt x="19136" y="3017"/>
                  </a:cubicBezTo>
                  <a:cubicBezTo>
                    <a:pt x="17904" y="1007"/>
                    <a:pt x="16290" y="0"/>
                    <a:pt x="14675" y="0"/>
                  </a:cubicBezTo>
                  <a:close/>
                  <a:moveTo>
                    <a:pt x="14675" y="1170"/>
                  </a:moveTo>
                  <a:cubicBezTo>
                    <a:pt x="16107" y="1170"/>
                    <a:pt x="17539" y="2063"/>
                    <a:pt x="18631" y="3845"/>
                  </a:cubicBezTo>
                  <a:cubicBezTo>
                    <a:pt x="20815" y="7410"/>
                    <a:pt x="20815" y="13189"/>
                    <a:pt x="18631" y="16754"/>
                  </a:cubicBezTo>
                  <a:cubicBezTo>
                    <a:pt x="16447" y="20319"/>
                    <a:pt x="12906" y="20319"/>
                    <a:pt x="10722" y="16754"/>
                  </a:cubicBezTo>
                  <a:cubicBezTo>
                    <a:pt x="8537" y="13189"/>
                    <a:pt x="8537" y="7410"/>
                    <a:pt x="10722" y="3845"/>
                  </a:cubicBezTo>
                  <a:cubicBezTo>
                    <a:pt x="11814" y="2063"/>
                    <a:pt x="13244" y="1170"/>
                    <a:pt x="14675" y="11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A78C717-A986-4DA1-B48A-FCC1AC6BA93A}"/>
                </a:ext>
              </a:extLst>
            </p:cNvPr>
            <p:cNvSpPr/>
            <p:nvPr/>
          </p:nvSpPr>
          <p:spPr>
            <a:xfrm>
              <a:off x="3870960" y="3120600"/>
              <a:ext cx="1726592" cy="1040096"/>
            </a:xfrm>
            <a:custGeom>
              <a:avLst/>
              <a:gdLst/>
              <a:ahLst/>
              <a:cxnLst/>
              <a:rect l="l" t="t" r="r" b="b"/>
              <a:pathLst>
                <a:path w="20983" h="20595" extrusionOk="0">
                  <a:moveTo>
                    <a:pt x="6320" y="0"/>
                  </a:moveTo>
                  <a:cubicBezTo>
                    <a:pt x="4702" y="0"/>
                    <a:pt x="3085" y="1007"/>
                    <a:pt x="1851" y="3017"/>
                  </a:cubicBezTo>
                  <a:cubicBezTo>
                    <a:pt x="-617" y="7038"/>
                    <a:pt x="-617" y="13557"/>
                    <a:pt x="1851" y="17579"/>
                  </a:cubicBezTo>
                  <a:cubicBezTo>
                    <a:pt x="4319" y="21600"/>
                    <a:pt x="8320" y="21600"/>
                    <a:pt x="10788" y="17579"/>
                  </a:cubicBezTo>
                  <a:cubicBezTo>
                    <a:pt x="11937" y="15707"/>
                    <a:pt x="12545" y="13294"/>
                    <a:pt x="12624" y="10844"/>
                  </a:cubicBezTo>
                  <a:lnTo>
                    <a:pt x="18600" y="10844"/>
                  </a:lnTo>
                  <a:lnTo>
                    <a:pt x="20322" y="15703"/>
                  </a:lnTo>
                  <a:lnTo>
                    <a:pt x="20932" y="15134"/>
                  </a:lnTo>
                  <a:lnTo>
                    <a:pt x="19210" y="10272"/>
                  </a:lnTo>
                  <a:lnTo>
                    <a:pt x="20983" y="5270"/>
                  </a:lnTo>
                  <a:lnTo>
                    <a:pt x="20367" y="4686"/>
                  </a:lnTo>
                  <a:lnTo>
                    <a:pt x="18605" y="9652"/>
                  </a:lnTo>
                  <a:lnTo>
                    <a:pt x="12621" y="9652"/>
                  </a:lnTo>
                  <a:cubicBezTo>
                    <a:pt x="12528" y="7236"/>
                    <a:pt x="11922" y="4863"/>
                    <a:pt x="10788" y="3017"/>
                  </a:cubicBezTo>
                  <a:cubicBezTo>
                    <a:pt x="9554" y="1007"/>
                    <a:pt x="7937" y="0"/>
                    <a:pt x="6320" y="0"/>
                  </a:cubicBezTo>
                  <a:close/>
                  <a:moveTo>
                    <a:pt x="6320" y="1170"/>
                  </a:moveTo>
                  <a:cubicBezTo>
                    <a:pt x="7753" y="1170"/>
                    <a:pt x="9188" y="2063"/>
                    <a:pt x="10282" y="3845"/>
                  </a:cubicBezTo>
                  <a:cubicBezTo>
                    <a:pt x="12470" y="7410"/>
                    <a:pt x="12470" y="13189"/>
                    <a:pt x="10282" y="16754"/>
                  </a:cubicBezTo>
                  <a:cubicBezTo>
                    <a:pt x="8094" y="20319"/>
                    <a:pt x="4547" y="20319"/>
                    <a:pt x="2359" y="16754"/>
                  </a:cubicBezTo>
                  <a:cubicBezTo>
                    <a:pt x="171" y="13189"/>
                    <a:pt x="171" y="7410"/>
                    <a:pt x="2359" y="3845"/>
                  </a:cubicBezTo>
                  <a:cubicBezTo>
                    <a:pt x="3453" y="2063"/>
                    <a:pt x="4886" y="1170"/>
                    <a:pt x="6320" y="11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126CB7B-4A80-4520-833D-F6188219EEA7}"/>
                </a:ext>
              </a:extLst>
            </p:cNvPr>
            <p:cNvSpPr/>
            <p:nvPr/>
          </p:nvSpPr>
          <p:spPr>
            <a:xfrm>
              <a:off x="4730654" y="3936874"/>
              <a:ext cx="1329190" cy="1698021"/>
            </a:xfrm>
            <a:custGeom>
              <a:avLst/>
              <a:gdLst/>
              <a:ahLst/>
              <a:cxnLst/>
              <a:rect l="l" t="t" r="r" b="b"/>
              <a:pathLst>
                <a:path w="20805" h="20973" extrusionOk="0">
                  <a:moveTo>
                    <a:pt x="13973" y="0"/>
                  </a:moveTo>
                  <a:lnTo>
                    <a:pt x="13187" y="355"/>
                  </a:lnTo>
                  <a:lnTo>
                    <a:pt x="15423" y="3409"/>
                  </a:lnTo>
                  <a:lnTo>
                    <a:pt x="11639" y="8756"/>
                  </a:lnTo>
                  <a:cubicBezTo>
                    <a:pt x="10534" y="8341"/>
                    <a:pt x="9338" y="8126"/>
                    <a:pt x="8139" y="8126"/>
                  </a:cubicBezTo>
                  <a:cubicBezTo>
                    <a:pt x="6056" y="8126"/>
                    <a:pt x="3973" y="8754"/>
                    <a:pt x="2384" y="10008"/>
                  </a:cubicBezTo>
                  <a:cubicBezTo>
                    <a:pt x="-795" y="12517"/>
                    <a:pt x="-795" y="16583"/>
                    <a:pt x="2384" y="19092"/>
                  </a:cubicBezTo>
                  <a:cubicBezTo>
                    <a:pt x="5563" y="21600"/>
                    <a:pt x="10716" y="21600"/>
                    <a:pt x="13895" y="19092"/>
                  </a:cubicBezTo>
                  <a:cubicBezTo>
                    <a:pt x="17074" y="16583"/>
                    <a:pt x="17074" y="12517"/>
                    <a:pt x="13895" y="10008"/>
                  </a:cubicBezTo>
                  <a:cubicBezTo>
                    <a:pt x="13454" y="9661"/>
                    <a:pt x="12971" y="9367"/>
                    <a:pt x="12465" y="9115"/>
                  </a:cubicBezTo>
                  <a:lnTo>
                    <a:pt x="16133" y="3928"/>
                  </a:lnTo>
                  <a:lnTo>
                    <a:pt x="20805" y="3928"/>
                  </a:lnTo>
                  <a:lnTo>
                    <a:pt x="20805" y="3218"/>
                  </a:lnTo>
                  <a:lnTo>
                    <a:pt x="16328" y="3218"/>
                  </a:lnTo>
                  <a:lnTo>
                    <a:pt x="13973" y="0"/>
                  </a:lnTo>
                  <a:close/>
                  <a:moveTo>
                    <a:pt x="8139" y="8856"/>
                  </a:moveTo>
                  <a:cubicBezTo>
                    <a:pt x="9986" y="8856"/>
                    <a:pt x="11834" y="9413"/>
                    <a:pt x="13243" y="10525"/>
                  </a:cubicBezTo>
                  <a:cubicBezTo>
                    <a:pt x="16061" y="12748"/>
                    <a:pt x="16061" y="16354"/>
                    <a:pt x="13243" y="18577"/>
                  </a:cubicBezTo>
                  <a:cubicBezTo>
                    <a:pt x="10425" y="20801"/>
                    <a:pt x="5856" y="20801"/>
                    <a:pt x="3038" y="18577"/>
                  </a:cubicBezTo>
                  <a:cubicBezTo>
                    <a:pt x="220" y="16354"/>
                    <a:pt x="220" y="12748"/>
                    <a:pt x="3038" y="10525"/>
                  </a:cubicBezTo>
                  <a:cubicBezTo>
                    <a:pt x="4447" y="9413"/>
                    <a:pt x="6293" y="8856"/>
                    <a:pt x="8139" y="885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F81CACF-5A9A-45E7-90F0-096DAD5DD9CE}"/>
                </a:ext>
              </a:extLst>
            </p:cNvPr>
            <p:cNvSpPr/>
            <p:nvPr/>
          </p:nvSpPr>
          <p:spPr>
            <a:xfrm>
              <a:off x="6120051" y="3949464"/>
              <a:ext cx="1351626" cy="1685431"/>
            </a:xfrm>
            <a:custGeom>
              <a:avLst/>
              <a:gdLst/>
              <a:ahLst/>
              <a:cxnLst/>
              <a:rect l="l" t="t" r="r" b="b"/>
              <a:pathLst>
                <a:path w="20818" h="20968" extrusionOk="0">
                  <a:moveTo>
                    <a:pt x="6797" y="0"/>
                  </a:moveTo>
                  <a:lnTo>
                    <a:pt x="4592" y="3085"/>
                  </a:lnTo>
                  <a:lnTo>
                    <a:pt x="0" y="3085"/>
                  </a:lnTo>
                  <a:lnTo>
                    <a:pt x="0" y="3799"/>
                  </a:lnTo>
                  <a:lnTo>
                    <a:pt x="4542" y="3799"/>
                  </a:lnTo>
                  <a:lnTo>
                    <a:pt x="8319" y="9145"/>
                  </a:lnTo>
                  <a:cubicBezTo>
                    <a:pt x="7906" y="9371"/>
                    <a:pt x="7511" y="9629"/>
                    <a:pt x="7145" y="9924"/>
                  </a:cubicBezTo>
                  <a:cubicBezTo>
                    <a:pt x="4017" y="12451"/>
                    <a:pt x="4017" y="16547"/>
                    <a:pt x="7145" y="19073"/>
                  </a:cubicBezTo>
                  <a:cubicBezTo>
                    <a:pt x="10273" y="21600"/>
                    <a:pt x="15344" y="21600"/>
                    <a:pt x="18472" y="19073"/>
                  </a:cubicBezTo>
                  <a:cubicBezTo>
                    <a:pt x="21600" y="16547"/>
                    <a:pt x="21600" y="12451"/>
                    <a:pt x="18472" y="9924"/>
                  </a:cubicBezTo>
                  <a:cubicBezTo>
                    <a:pt x="16908" y="8661"/>
                    <a:pt x="14858" y="8029"/>
                    <a:pt x="12809" y="8029"/>
                  </a:cubicBezTo>
                  <a:cubicBezTo>
                    <a:pt x="11538" y="8029"/>
                    <a:pt x="10269" y="8272"/>
                    <a:pt x="9114" y="8758"/>
                  </a:cubicBezTo>
                  <a:lnTo>
                    <a:pt x="5360" y="3450"/>
                  </a:lnTo>
                  <a:lnTo>
                    <a:pt x="7568" y="363"/>
                  </a:lnTo>
                  <a:lnTo>
                    <a:pt x="6797" y="0"/>
                  </a:lnTo>
                  <a:close/>
                  <a:moveTo>
                    <a:pt x="12809" y="8764"/>
                  </a:moveTo>
                  <a:cubicBezTo>
                    <a:pt x="14626" y="8764"/>
                    <a:pt x="16444" y="9325"/>
                    <a:pt x="17831" y="10444"/>
                  </a:cubicBezTo>
                  <a:cubicBezTo>
                    <a:pt x="20603" y="12684"/>
                    <a:pt x="20603" y="16316"/>
                    <a:pt x="17831" y="18555"/>
                  </a:cubicBezTo>
                  <a:cubicBezTo>
                    <a:pt x="15058" y="20795"/>
                    <a:pt x="10562" y="20795"/>
                    <a:pt x="7789" y="18555"/>
                  </a:cubicBezTo>
                  <a:cubicBezTo>
                    <a:pt x="5016" y="16316"/>
                    <a:pt x="5016" y="12684"/>
                    <a:pt x="7789" y="10444"/>
                  </a:cubicBezTo>
                  <a:cubicBezTo>
                    <a:pt x="9175" y="9325"/>
                    <a:pt x="10991" y="8764"/>
                    <a:pt x="12809" y="87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8C758E98-649E-44F7-AF53-70940D8E14AF}"/>
                </a:ext>
              </a:extLst>
            </p:cNvPr>
            <p:cNvSpPr/>
            <p:nvPr/>
          </p:nvSpPr>
          <p:spPr>
            <a:xfrm>
              <a:off x="4958864" y="1866697"/>
              <a:ext cx="589298" cy="5892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F21473D0-73AF-42DC-83C2-89717A8249EC}"/>
                </a:ext>
              </a:extLst>
            </p:cNvPr>
            <p:cNvSpPr/>
            <p:nvPr/>
          </p:nvSpPr>
          <p:spPr>
            <a:xfrm>
              <a:off x="6657203" y="1866697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F19F889C-9B98-4574-A03C-A6CA074D7940}"/>
                </a:ext>
              </a:extLst>
            </p:cNvPr>
            <p:cNvSpPr/>
            <p:nvPr/>
          </p:nvSpPr>
          <p:spPr>
            <a:xfrm>
              <a:off x="4958396" y="4817097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92F8CA09-1696-4717-9597-1E7509347EF1}"/>
                </a:ext>
              </a:extLst>
            </p:cNvPr>
            <p:cNvSpPr/>
            <p:nvPr/>
          </p:nvSpPr>
          <p:spPr>
            <a:xfrm>
              <a:off x="6656735" y="4817097"/>
              <a:ext cx="589298" cy="5892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65E5F0A2-22D2-4307-9626-41AB8F49FBAE}"/>
                </a:ext>
              </a:extLst>
            </p:cNvPr>
            <p:cNvSpPr/>
            <p:nvPr/>
          </p:nvSpPr>
          <p:spPr>
            <a:xfrm>
              <a:off x="7504873" y="3344718"/>
              <a:ext cx="589300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926DAC4C-042D-4269-8425-E5DD57832382}"/>
                </a:ext>
              </a:extLst>
            </p:cNvPr>
            <p:cNvSpPr/>
            <p:nvPr/>
          </p:nvSpPr>
          <p:spPr>
            <a:xfrm>
              <a:off x="4097863" y="3344718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78F56B22-993B-4BC6-AD18-B93591989067}"/>
                </a:ext>
              </a:extLst>
            </p:cNvPr>
            <p:cNvSpPr txBox="1"/>
            <p:nvPr/>
          </p:nvSpPr>
          <p:spPr bwMode="auto">
            <a:xfrm>
              <a:off x="5446103" y="3291841"/>
              <a:ext cx="1274737" cy="66821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 i="1" dirty="0">
                  <a:cs typeface="+mn-ea"/>
                  <a:sym typeface="+mn-lt"/>
                </a:rPr>
                <a:t>Text</a:t>
              </a: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A395ECD-B65C-404E-B37E-198CFD881EB4}"/>
                </a:ext>
              </a:extLst>
            </p:cNvPr>
            <p:cNvSpPr/>
            <p:nvPr/>
          </p:nvSpPr>
          <p:spPr bwMode="auto">
            <a:xfrm>
              <a:off x="5067616" y="19982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09E38F4-6179-44E7-9F25-6290AFC11BA0}"/>
                </a:ext>
              </a:extLst>
            </p:cNvPr>
            <p:cNvSpPr/>
            <p:nvPr/>
          </p:nvSpPr>
          <p:spPr bwMode="auto">
            <a:xfrm>
              <a:off x="6765955" y="19982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F210867-301D-4B05-A9EF-2B68E1837437}"/>
                </a:ext>
              </a:extLst>
            </p:cNvPr>
            <p:cNvSpPr/>
            <p:nvPr/>
          </p:nvSpPr>
          <p:spPr bwMode="auto">
            <a:xfrm>
              <a:off x="4206615" y="3462872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CA7DE007-2683-48D4-BDC9-CE82B8445111}"/>
                </a:ext>
              </a:extLst>
            </p:cNvPr>
            <p:cNvSpPr/>
            <p:nvPr/>
          </p:nvSpPr>
          <p:spPr bwMode="auto">
            <a:xfrm>
              <a:off x="7613625" y="3462872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C2D24CA-C7FD-4777-B5EC-B28BA4D51565}"/>
                </a:ext>
              </a:extLst>
            </p:cNvPr>
            <p:cNvSpPr/>
            <p:nvPr/>
          </p:nvSpPr>
          <p:spPr bwMode="auto">
            <a:xfrm>
              <a:off x="5067148" y="49486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34F5321-9C96-4875-9360-C667D284CDF6}"/>
                </a:ext>
              </a:extLst>
            </p:cNvPr>
            <p:cNvSpPr/>
            <p:nvPr/>
          </p:nvSpPr>
          <p:spPr bwMode="auto">
            <a:xfrm>
              <a:off x="6765487" y="49486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E39B7EF2-7170-41BB-85AA-3D76E4A2E4B5}"/>
                </a:ext>
              </a:extLst>
            </p:cNvPr>
            <p:cNvSpPr txBox="1"/>
            <p:nvPr/>
          </p:nvSpPr>
          <p:spPr>
            <a:xfrm>
              <a:off x="1999306" y="1421550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B6AD26CB-21C3-4280-BB89-1D6B104840FF}"/>
                </a:ext>
              </a:extLst>
            </p:cNvPr>
            <p:cNvSpPr/>
            <p:nvPr/>
          </p:nvSpPr>
          <p:spPr bwMode="auto">
            <a:xfrm>
              <a:off x="1999306" y="1905072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ECB6F4AE-3637-4D0B-B910-C8C618FD4988}"/>
                </a:ext>
              </a:extLst>
            </p:cNvPr>
            <p:cNvSpPr txBox="1"/>
            <p:nvPr/>
          </p:nvSpPr>
          <p:spPr>
            <a:xfrm>
              <a:off x="1999306" y="4636232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6B210380-2094-45CF-B1E2-E98C10423965}"/>
                </a:ext>
              </a:extLst>
            </p:cNvPr>
            <p:cNvSpPr/>
            <p:nvPr/>
          </p:nvSpPr>
          <p:spPr bwMode="auto">
            <a:xfrm>
              <a:off x="1999306" y="5119754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630850DD-9DA1-4E3F-AABC-FB8AC7656352}"/>
                </a:ext>
              </a:extLst>
            </p:cNvPr>
            <p:cNvSpPr txBox="1"/>
            <p:nvPr/>
          </p:nvSpPr>
          <p:spPr>
            <a:xfrm>
              <a:off x="1141587" y="3083696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CCFA7EC4-3F95-4A13-AAAA-50123EAD0FCF}"/>
                </a:ext>
              </a:extLst>
            </p:cNvPr>
            <p:cNvSpPr/>
            <p:nvPr/>
          </p:nvSpPr>
          <p:spPr bwMode="auto">
            <a:xfrm>
              <a:off x="1141587" y="3567218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352D434C-DFC6-4D1D-9215-60BA5B8B8364}"/>
                </a:ext>
              </a:extLst>
            </p:cNvPr>
            <p:cNvSpPr txBox="1"/>
            <p:nvPr/>
          </p:nvSpPr>
          <p:spPr>
            <a:xfrm>
              <a:off x="7617445" y="1421550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F3F61239-8E4C-4855-BCF4-70B55E345DC0}"/>
                </a:ext>
              </a:extLst>
            </p:cNvPr>
            <p:cNvSpPr/>
            <p:nvPr/>
          </p:nvSpPr>
          <p:spPr bwMode="auto">
            <a:xfrm>
              <a:off x="7617445" y="1905072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49759E69-7F5C-479F-9FEA-F9ED5A6D39FD}"/>
                </a:ext>
              </a:extLst>
            </p:cNvPr>
            <p:cNvSpPr txBox="1"/>
            <p:nvPr/>
          </p:nvSpPr>
          <p:spPr>
            <a:xfrm>
              <a:off x="7617445" y="4636232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50515739-F599-4C5D-93D2-4A4015D2E92A}"/>
                </a:ext>
              </a:extLst>
            </p:cNvPr>
            <p:cNvSpPr/>
            <p:nvPr/>
          </p:nvSpPr>
          <p:spPr bwMode="auto">
            <a:xfrm>
              <a:off x="7617445" y="5119754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150C0E8C-94ED-46A1-8202-4F975D092E8E}"/>
                </a:ext>
              </a:extLst>
            </p:cNvPr>
            <p:cNvSpPr txBox="1"/>
            <p:nvPr/>
          </p:nvSpPr>
          <p:spPr>
            <a:xfrm>
              <a:off x="8482300" y="3083696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0FBBDC2F-EF42-493A-A33E-7E75A0EAD8C1}"/>
                </a:ext>
              </a:extLst>
            </p:cNvPr>
            <p:cNvSpPr/>
            <p:nvPr/>
          </p:nvSpPr>
          <p:spPr bwMode="auto">
            <a:xfrm>
              <a:off x="8482300" y="3567218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284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586192D-DCB4-40BC-8AAD-BEC112E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94920"/>
            <a:ext cx="10845800" cy="3476175"/>
            <a:chOff x="673100" y="1494920"/>
            <a:chExt cx="10845800" cy="347617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1581534" y="3069772"/>
              <a:ext cx="706024" cy="706024"/>
              <a:chOff x="2077663" y="2690079"/>
              <a:chExt cx="980218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3662261" y="3069772"/>
              <a:ext cx="706024" cy="706024"/>
              <a:chOff x="2077663" y="2690079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4290BE7-9608-498E-8ED2-F40FD2A1344E}"/>
                </a:ext>
              </a:extLst>
            </p:cNvPr>
            <p:cNvGrpSpPr/>
            <p:nvPr/>
          </p:nvGrpSpPr>
          <p:grpSpPr>
            <a:xfrm>
              <a:off x="5399314" y="2726098"/>
              <a:ext cx="1393372" cy="1393372"/>
              <a:chOff x="2077663" y="2690079"/>
              <a:chExt cx="980218" cy="98021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B1BDCA5-944E-4A4F-A5D7-D95AEAD1E29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E969B816-27C6-414F-8AA7-A76A3222F7A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C4E37DD-4B81-42E4-9309-580474D5E7FD}"/>
                </a:ext>
              </a:extLst>
            </p:cNvPr>
            <p:cNvGrpSpPr/>
            <p:nvPr/>
          </p:nvGrpSpPr>
          <p:grpSpPr>
            <a:xfrm>
              <a:off x="7823715" y="3069772"/>
              <a:ext cx="706024" cy="706024"/>
              <a:chOff x="2077663" y="2690079"/>
              <a:chExt cx="980218" cy="980218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B106B5CF-358C-4D7C-B7DB-282937E58673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534A74AE-DB50-4EE8-A7B9-3AFB5282737B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21750EF2-802B-4AD7-8D53-D8E72516D54C}"/>
                </a:ext>
              </a:extLst>
            </p:cNvPr>
            <p:cNvGrpSpPr/>
            <p:nvPr/>
          </p:nvGrpSpPr>
          <p:grpSpPr>
            <a:xfrm>
              <a:off x="9904442" y="3069772"/>
              <a:ext cx="706024" cy="706024"/>
              <a:chOff x="2077663" y="2690079"/>
              <a:chExt cx="980218" cy="980218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856D5ED0-2654-43D0-826D-7CE2DED0810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0C1BCF7-57E4-41C6-9FE7-FEAFFE86B7E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155CE03-095F-4AAC-940E-9F78815C2537}"/>
                </a:ext>
              </a:extLst>
            </p:cNvPr>
            <p:cNvGrpSpPr/>
            <p:nvPr/>
          </p:nvGrpSpPr>
          <p:grpSpPr>
            <a:xfrm>
              <a:off x="1009839" y="3973869"/>
              <a:ext cx="1849411" cy="997226"/>
              <a:chOff x="1072499" y="1797239"/>
              <a:chExt cx="1849411" cy="997226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CC8FA32-5E42-4983-9D0B-8C97D4DF2C61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BDE0D30D-54C5-4CB9-8B3D-EA5F0E35ADFE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643CFC1-60B1-40F8-9C74-C34E4491331C}"/>
                </a:ext>
              </a:extLst>
            </p:cNvPr>
            <p:cNvGrpSpPr/>
            <p:nvPr/>
          </p:nvGrpSpPr>
          <p:grpSpPr>
            <a:xfrm>
              <a:off x="3090566" y="3973869"/>
              <a:ext cx="1849411" cy="997226"/>
              <a:chOff x="1072499" y="1797239"/>
              <a:chExt cx="1849411" cy="997226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8724BA88-89B1-4E51-8307-CF322D13641D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8077C3F9-A9DC-47F5-AD88-9ED22DBF47AD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63F8DE81-3EA2-4CE8-9B5C-3F4E05C29C62}"/>
                </a:ext>
              </a:extLst>
            </p:cNvPr>
            <p:cNvGrpSpPr/>
            <p:nvPr/>
          </p:nvGrpSpPr>
          <p:grpSpPr>
            <a:xfrm>
              <a:off x="5171293" y="1494920"/>
              <a:ext cx="1849411" cy="997226"/>
              <a:chOff x="1072499" y="1797239"/>
              <a:chExt cx="1849411" cy="997226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F157CB4-8562-4DD6-84EC-9D53D4D5CE93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4C6CE4D1-37A3-47CE-BD7E-D9F4DF1942E6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4A72D5A-D49D-420A-8AFC-CDA8122FF49E}"/>
                </a:ext>
              </a:extLst>
            </p:cNvPr>
            <p:cNvGrpSpPr/>
            <p:nvPr/>
          </p:nvGrpSpPr>
          <p:grpSpPr>
            <a:xfrm>
              <a:off x="7252020" y="3973869"/>
              <a:ext cx="1849411" cy="997226"/>
              <a:chOff x="1072499" y="1797239"/>
              <a:chExt cx="1849411" cy="997226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F5820974-7EC8-4375-86AE-E4C30FE1EAE9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1A53AA3B-0EC0-4039-986D-F3369CA00F6F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1F9AAB4C-B607-412E-B162-324E845C967E}"/>
                </a:ext>
              </a:extLst>
            </p:cNvPr>
            <p:cNvGrpSpPr/>
            <p:nvPr/>
          </p:nvGrpSpPr>
          <p:grpSpPr>
            <a:xfrm>
              <a:off x="9332747" y="3973869"/>
              <a:ext cx="1849411" cy="997226"/>
              <a:chOff x="1072499" y="1797239"/>
              <a:chExt cx="1849411" cy="997226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D418AB33-C541-4ECA-BBC7-E1080905DF18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0B4EA58B-19E5-4946-88F4-00772E468729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1C268-085D-4DE8-9101-2D4B52E5F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C3CDFC1-6EBB-4E2D-B6C2-D8AFFE2FC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3B0B5-0BBC-43E5-96DC-C5F1C630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606952-5690-442C-9C76-6AC1FD6C6A80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36682"/>
            <a:ext cx="10847388" cy="4817595"/>
            <a:chOff x="673100" y="1336682"/>
            <a:chExt cx="10847388" cy="481759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172D5E2-99AE-4FB1-A405-CAB6DD831B1D}"/>
                </a:ext>
              </a:extLst>
            </p:cNvPr>
            <p:cNvGrpSpPr/>
            <p:nvPr/>
          </p:nvGrpSpPr>
          <p:grpSpPr>
            <a:xfrm>
              <a:off x="3621741" y="2326986"/>
              <a:ext cx="4948518" cy="1979406"/>
              <a:chOff x="3621741" y="2439297"/>
              <a:chExt cx="4948518" cy="1979406"/>
            </a:xfrm>
          </p:grpSpPr>
          <p:sp>
            <p:nvSpPr>
              <p:cNvPr id="49" name="形状 48">
                <a:extLst>
                  <a:ext uri="{FF2B5EF4-FFF2-40B4-BE49-F238E27FC236}">
                    <a16:creationId xmlns:a16="http://schemas.microsoft.com/office/drawing/2014/main" id="{DA299F04-3991-4AA9-809B-961C34AFC463}"/>
                  </a:ext>
                </a:extLst>
              </p:cNvPr>
              <p:cNvSpPr/>
              <p:nvPr/>
            </p:nvSpPr>
            <p:spPr>
              <a:xfrm>
                <a:off x="3621741" y="2439297"/>
                <a:ext cx="4948518" cy="1979406"/>
              </a:xfrm>
              <a:prstGeom prst="leftRightRibbon">
                <a:avLst>
                  <a:gd name="adj1" fmla="val 50000"/>
                  <a:gd name="adj2" fmla="val 50000"/>
                  <a:gd name="adj3" fmla="val 17379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6ABC88E8-5175-4723-A83B-83C398374EFD}"/>
                  </a:ext>
                </a:extLst>
              </p:cNvPr>
              <p:cNvSpPr txBox="1"/>
              <p:nvPr/>
            </p:nvSpPr>
            <p:spPr bwMode="auto">
              <a:xfrm>
                <a:off x="4500628" y="3006839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FEFEAFD1-D0CA-4646-9B80-E43BAF7E89D6}"/>
                  </a:ext>
                </a:extLst>
              </p:cNvPr>
              <p:cNvSpPr txBox="1"/>
              <p:nvPr/>
            </p:nvSpPr>
            <p:spPr bwMode="auto">
              <a:xfrm>
                <a:off x="6360007" y="3387316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5DC9054-357D-4F69-A718-C4EB9E7B316E}"/>
                </a:ext>
              </a:extLst>
            </p:cNvPr>
            <p:cNvGrpSpPr/>
            <p:nvPr/>
          </p:nvGrpSpPr>
          <p:grpSpPr>
            <a:xfrm>
              <a:off x="673100" y="1336682"/>
              <a:ext cx="2736851" cy="1033406"/>
              <a:chOff x="673100" y="1336682"/>
              <a:chExt cx="2736851" cy="1033406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DA9622D5-BECE-4CB7-B7CF-BA479A659EA2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7" name="椭圆 46">
                  <a:extLst>
                    <a:ext uri="{FF2B5EF4-FFF2-40B4-BE49-F238E27FC236}">
                      <a16:creationId xmlns:a16="http://schemas.microsoft.com/office/drawing/2014/main" id="{3AAE2F66-8D86-4D67-BDF4-38E9BB23C76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06C66DFE-ABD8-4AEB-A4B6-903E3C8B773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EB3597E-D000-4A5B-843E-FF7A0013684A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212C9FB6-F3DF-4811-BDFC-982A44FD8B5B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ED126A44-D434-4B65-8807-6829D15AD177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7BBE3F-139D-49A4-9378-E73D0CDC665E}"/>
                </a:ext>
              </a:extLst>
            </p:cNvPr>
            <p:cNvGrpSpPr/>
            <p:nvPr/>
          </p:nvGrpSpPr>
          <p:grpSpPr>
            <a:xfrm>
              <a:off x="673100" y="2722059"/>
              <a:ext cx="2736851" cy="1033406"/>
              <a:chOff x="673100" y="1336682"/>
              <a:chExt cx="2736851" cy="1033406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2D138EA0-B987-42CB-895F-D87592690BDD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1" name="椭圆 40">
                  <a:extLst>
                    <a:ext uri="{FF2B5EF4-FFF2-40B4-BE49-F238E27FC236}">
                      <a16:creationId xmlns:a16="http://schemas.microsoft.com/office/drawing/2014/main" id="{F43089DB-234F-47A4-A829-70C6CE3F3CE4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E03751C1-769B-40DF-B1C9-4F1F692C0BBB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22F4C8A3-8377-44B2-9165-FBBBEEE47675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39" name="矩形 38">
                  <a:extLst>
                    <a:ext uri="{FF2B5EF4-FFF2-40B4-BE49-F238E27FC236}">
                      <a16:creationId xmlns:a16="http://schemas.microsoft.com/office/drawing/2014/main" id="{BC717764-3B25-4882-8CC7-BB7F7D02F9A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09F694BC-FE72-4AF5-9F7D-5F6A6C210ABD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348BD8D-5537-47A3-9F7E-1105E5992533}"/>
                </a:ext>
              </a:extLst>
            </p:cNvPr>
            <p:cNvGrpSpPr/>
            <p:nvPr/>
          </p:nvGrpSpPr>
          <p:grpSpPr>
            <a:xfrm>
              <a:off x="673100" y="4107436"/>
              <a:ext cx="2736851" cy="1033406"/>
              <a:chOff x="673100" y="1336682"/>
              <a:chExt cx="2736851" cy="1033406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76A06202-BA45-474C-BCFA-5EC6D735F8EA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469F4741-0DF8-4DAA-BDDE-1085CC32AD8C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7C888A1F-10EF-4427-B1C8-74EF839F2688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FCB5F828-B0FA-4D67-BF6E-C4A92D1A5211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D60F80BD-3C73-4853-9166-D9A50F4533E3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EDBCB0F9-794F-4FF8-B9DD-ABE545C71C64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A8BAE68-60BB-4E5D-9940-B0A95E15675B}"/>
                </a:ext>
              </a:extLst>
            </p:cNvPr>
            <p:cNvGrpSpPr/>
            <p:nvPr/>
          </p:nvGrpSpPr>
          <p:grpSpPr>
            <a:xfrm>
              <a:off x="8664844" y="2107301"/>
              <a:ext cx="2855644" cy="1033406"/>
              <a:chOff x="7222373" y="4107436"/>
              <a:chExt cx="2855644" cy="103340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A9E3AA2-2AC4-40D8-837C-278F5A9533CC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5709985A-4032-43E5-B976-EA953E315157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4D949F07-33AE-447F-80DD-1A9CF4E0C7C4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FDE0392E-B8C9-4FE3-9C20-C6C4F3717352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4E82E71A-1287-45E8-9875-D2A9EB86527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矩形 27">
                  <a:extLst>
                    <a:ext uri="{FF2B5EF4-FFF2-40B4-BE49-F238E27FC236}">
                      <a16:creationId xmlns:a16="http://schemas.microsoft.com/office/drawing/2014/main" id="{715461BC-FD33-4BE8-8E88-7484D2ED2DA9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35C651D-635E-4F8F-8908-255F910EDB8A}"/>
                </a:ext>
              </a:extLst>
            </p:cNvPr>
            <p:cNvGrpSpPr/>
            <p:nvPr/>
          </p:nvGrpSpPr>
          <p:grpSpPr>
            <a:xfrm>
              <a:off x="8664844" y="3614086"/>
              <a:ext cx="2855644" cy="1033406"/>
              <a:chOff x="7222373" y="4107436"/>
              <a:chExt cx="2855644" cy="103340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42513E7-899B-43AF-9463-81D9AF21CD87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C0643201-A972-47EC-8AE3-3FA47DBC3C3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A8EA14D-DCD5-4D5E-9DE3-B499DA77A88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1A4E485-31E5-42B4-8AED-2EFD176F8C7F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E92450C7-C2E5-4CBD-B9A1-8E3B8CF6A49C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7EC133C5-11F1-4708-98FA-8ED6B29B7A82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8F63540-F8A1-4D4F-8AB8-A2D3481B9F1A}"/>
                </a:ext>
              </a:extLst>
            </p:cNvPr>
            <p:cNvGrpSpPr/>
            <p:nvPr/>
          </p:nvGrpSpPr>
          <p:grpSpPr>
            <a:xfrm>
              <a:off x="8664844" y="5120871"/>
              <a:ext cx="2855644" cy="1033406"/>
              <a:chOff x="7222373" y="4107436"/>
              <a:chExt cx="2855644" cy="1033406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9BE9444-249D-4F58-9274-8C8A9F4765D2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9B4A0534-96ED-43B0-A712-147B22AA9B8F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8246B7E-740C-4AF1-B27C-9AF11BD0BC8E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3EF4A81C-2216-4738-A75B-9CC7C79F9A4A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3451FCB7-9B4C-4C64-B81C-99243DF1A25A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A8D1563-3F3A-425E-ACB3-2B635CDE4193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519515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DEF281C-97E6-4384-88BA-8976F17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3" cy="5603557"/>
            <a:chOff x="1889598" y="1254441"/>
            <a:chExt cx="8420064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6B0C7B-9C91-4DE6-9BFF-D78B5AF8FC9F}"/>
                </a:ext>
              </a:extLst>
            </p:cNvPr>
            <p:cNvGrpSpPr/>
            <p:nvPr/>
          </p:nvGrpSpPr>
          <p:grpSpPr>
            <a:xfrm>
              <a:off x="1959474" y="5140886"/>
              <a:ext cx="2240908" cy="1005914"/>
              <a:chOff x="3134941" y="3541240"/>
              <a:chExt cx="2240908" cy="1005914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43DE2469-5C4F-4760-890A-B5B2CE4B4C3C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47" name="矩形 46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文本框 47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4CC5A5A-ABD2-4A1E-9777-EEA637318788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45" name="椭圆 44">
                  <a:extLst>
                    <a:ext uri="{FF2B5EF4-FFF2-40B4-BE49-F238E27FC236}">
                      <a16:creationId xmlns:a16="http://schemas.microsoft.com/office/drawing/2014/main" id="{6BE530CB-FD6A-4601-B0A3-1243DF45F4C6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C6AC6544-C3A3-43B4-89CB-82D08E2CD03C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07390" y="3606106"/>
              <a:ext cx="2240908" cy="1005914"/>
              <a:chOff x="3134941" y="3541240"/>
              <a:chExt cx="2240908" cy="1005914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56D404FD-C52A-45B6-9424-83E25B71F5D8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41" name="矩形 40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文本框 41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91C4713-3D5E-4EDA-A207-D6A89562F3FC}"/>
                </a:ext>
              </a:extLst>
            </p:cNvPr>
            <p:cNvGrpSpPr/>
            <p:nvPr/>
          </p:nvGrpSpPr>
          <p:grpSpPr>
            <a:xfrm>
              <a:off x="2587299" y="1636679"/>
              <a:ext cx="2240908" cy="1005914"/>
              <a:chOff x="3134941" y="3541240"/>
              <a:chExt cx="2240908" cy="1005914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CB231A6A-24F4-45D9-A54D-6E0ED1758B1E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文本框 35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B79998C7-F25F-45E6-A529-A922FD217E29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3" name="椭圆 32">
                  <a:extLst>
                    <a:ext uri="{FF2B5EF4-FFF2-40B4-BE49-F238E27FC236}">
                      <a16:creationId xmlns:a16="http://schemas.microsoft.com/office/drawing/2014/main" id="{D68F5D79-F85C-438D-80EE-1963B2FF141E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C86BF523-DBAA-4639-9289-82F4AC7BD7E3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140886"/>
              <a:ext cx="2240904" cy="1005914"/>
              <a:chOff x="8294591" y="1717812"/>
              <a:chExt cx="2240904" cy="1005914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0DB7524A-E6F5-4152-861E-86B7F30FC7A4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29" name="矩形 28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文本框 29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2894573"/>
              <a:ext cx="2240904" cy="1005914"/>
              <a:chOff x="8294591" y="1717812"/>
              <a:chExt cx="2240904" cy="1005914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1005914"/>
              <a:chOff x="8294591" y="1717812"/>
              <a:chExt cx="2240904" cy="1005914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F3A67EF-B149-4A51-9EE1-9E91688EA79C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文本框 17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7B45C-9F8D-42F2-880D-C0DE9713A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653D0D6-4712-424D-BFD4-51F78163D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C4FE32-2179-4F75-B6FC-8144FDFA1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93AA1C5-A087-481D-A4B8-A64D57BD0BA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313427"/>
            <a:ext cx="10846298" cy="4650246"/>
            <a:chOff x="669925" y="1313427"/>
            <a:chExt cx="10846298" cy="4650246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FF7228E6-2439-44D8-9E8C-DCFFE287CDB3}"/>
                </a:ext>
              </a:extLst>
            </p:cNvPr>
            <p:cNvSpPr/>
            <p:nvPr/>
          </p:nvSpPr>
          <p:spPr bwMode="auto">
            <a:xfrm>
              <a:off x="4516419" y="2063820"/>
              <a:ext cx="3159160" cy="31531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F051387-1AB4-40C8-B8CD-025162CA2C97}"/>
                </a:ext>
              </a:extLst>
            </p:cNvPr>
            <p:cNvSpPr/>
            <p:nvPr/>
          </p:nvSpPr>
          <p:spPr bwMode="auto">
            <a:xfrm>
              <a:off x="3806033" y="3152432"/>
              <a:ext cx="2776084" cy="2773661"/>
            </a:xfrm>
            <a:custGeom>
              <a:avLst/>
              <a:gdLst>
                <a:gd name="T0" fmla="*/ 996 w 1102"/>
                <a:gd name="T1" fmla="*/ 106 h 1103"/>
                <a:gd name="T2" fmla="*/ 996 w 1102"/>
                <a:gd name="T3" fmla="*/ 106 h 1103"/>
                <a:gd name="T4" fmla="*/ 611 w 1102"/>
                <a:gd name="T5" fmla="*/ 106 h 1103"/>
                <a:gd name="T6" fmla="*/ 106 w 1102"/>
                <a:gd name="T7" fmla="*/ 611 h 1103"/>
                <a:gd name="T8" fmla="*/ 106 w 1102"/>
                <a:gd name="T9" fmla="*/ 997 h 1103"/>
                <a:gd name="T10" fmla="*/ 106 w 1102"/>
                <a:gd name="T11" fmla="*/ 997 h 1103"/>
                <a:gd name="T12" fmla="*/ 492 w 1102"/>
                <a:gd name="T13" fmla="*/ 997 h 1103"/>
                <a:gd name="T14" fmla="*/ 996 w 1102"/>
                <a:gd name="T15" fmla="*/ 492 h 1103"/>
                <a:gd name="T16" fmla="*/ 996 w 1102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3">
                  <a:moveTo>
                    <a:pt x="996" y="106"/>
                  </a:moveTo>
                  <a:cubicBezTo>
                    <a:pt x="996" y="106"/>
                    <a:pt x="996" y="106"/>
                    <a:pt x="996" y="106"/>
                  </a:cubicBezTo>
                  <a:cubicBezTo>
                    <a:pt x="890" y="0"/>
                    <a:pt x="717" y="0"/>
                    <a:pt x="611" y="106"/>
                  </a:cubicBezTo>
                  <a:cubicBezTo>
                    <a:pt x="106" y="611"/>
                    <a:pt x="106" y="611"/>
                    <a:pt x="106" y="611"/>
                  </a:cubicBezTo>
                  <a:cubicBezTo>
                    <a:pt x="0" y="717"/>
                    <a:pt x="0" y="890"/>
                    <a:pt x="106" y="997"/>
                  </a:cubicBezTo>
                  <a:cubicBezTo>
                    <a:pt x="106" y="997"/>
                    <a:pt x="106" y="997"/>
                    <a:pt x="106" y="997"/>
                  </a:cubicBezTo>
                  <a:cubicBezTo>
                    <a:pt x="212" y="1103"/>
                    <a:pt x="386" y="1103"/>
                    <a:pt x="492" y="997"/>
                  </a:cubicBezTo>
                  <a:cubicBezTo>
                    <a:pt x="996" y="492"/>
                    <a:pt x="996" y="492"/>
                    <a:pt x="996" y="492"/>
                  </a:cubicBezTo>
                  <a:cubicBezTo>
                    <a:pt x="1102" y="386"/>
                    <a:pt x="1102" y="212"/>
                    <a:pt x="996" y="1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B8CA56-D3D2-401F-BA49-745280CF378E}"/>
                </a:ext>
              </a:extLst>
            </p:cNvPr>
            <p:cNvSpPr/>
            <p:nvPr/>
          </p:nvSpPr>
          <p:spPr bwMode="auto">
            <a:xfrm>
              <a:off x="5567453" y="1313427"/>
              <a:ext cx="2856094" cy="2854883"/>
            </a:xfrm>
            <a:custGeom>
              <a:avLst/>
              <a:gdLst>
                <a:gd name="T0" fmla="*/ 92 w 1134"/>
                <a:gd name="T1" fmla="*/ 1042 h 1135"/>
                <a:gd name="T2" fmla="*/ 61 w 1134"/>
                <a:gd name="T3" fmla="*/ 1006 h 1135"/>
                <a:gd name="T4" fmla="*/ 36 w 1134"/>
                <a:gd name="T5" fmla="*/ 966 h 1135"/>
                <a:gd name="T6" fmla="*/ 9 w 1134"/>
                <a:gd name="T7" fmla="*/ 895 h 1135"/>
                <a:gd name="T8" fmla="*/ 2 w 1134"/>
                <a:gd name="T9" fmla="*/ 850 h 1135"/>
                <a:gd name="T10" fmla="*/ 4 w 1134"/>
                <a:gd name="T11" fmla="*/ 774 h 1135"/>
                <a:gd name="T12" fmla="*/ 13 w 1134"/>
                <a:gd name="T13" fmla="*/ 730 h 1135"/>
                <a:gd name="T14" fmla="*/ 44 w 1134"/>
                <a:gd name="T15" fmla="*/ 659 h 1135"/>
                <a:gd name="T16" fmla="*/ 61 w 1134"/>
                <a:gd name="T17" fmla="*/ 633 h 1135"/>
                <a:gd name="T18" fmla="*/ 92 w 1134"/>
                <a:gd name="T19" fmla="*/ 597 h 1135"/>
                <a:gd name="T20" fmla="*/ 609 w 1134"/>
                <a:gd name="T21" fmla="*/ 81 h 1135"/>
                <a:gd name="T22" fmla="*/ 646 w 1134"/>
                <a:gd name="T23" fmla="*/ 52 h 1135"/>
                <a:gd name="T24" fmla="*/ 687 w 1134"/>
                <a:gd name="T25" fmla="*/ 29 h 1135"/>
                <a:gd name="T26" fmla="*/ 760 w 1134"/>
                <a:gd name="T27" fmla="*/ 6 h 1135"/>
                <a:gd name="T28" fmla="*/ 805 w 1134"/>
                <a:gd name="T29" fmla="*/ 1 h 1135"/>
                <a:gd name="T30" fmla="*/ 880 w 1134"/>
                <a:gd name="T31" fmla="*/ 6 h 1135"/>
                <a:gd name="T32" fmla="*/ 924 w 1134"/>
                <a:gd name="T33" fmla="*/ 18 h 1135"/>
                <a:gd name="T34" fmla="*/ 993 w 1134"/>
                <a:gd name="T35" fmla="*/ 52 h 1135"/>
                <a:gd name="T36" fmla="*/ 1031 w 1134"/>
                <a:gd name="T37" fmla="*/ 81 h 1135"/>
                <a:gd name="T38" fmla="*/ 1064 w 1134"/>
                <a:gd name="T39" fmla="*/ 116 h 1135"/>
                <a:gd name="T40" fmla="*/ 1091 w 1134"/>
                <a:gd name="T41" fmla="*/ 155 h 1135"/>
                <a:gd name="T42" fmla="*/ 1112 w 1134"/>
                <a:gd name="T43" fmla="*/ 196 h 1135"/>
                <a:gd name="T44" fmla="*/ 1131 w 1134"/>
                <a:gd name="T45" fmla="*/ 270 h 1135"/>
                <a:gd name="T46" fmla="*/ 1134 w 1134"/>
                <a:gd name="T47" fmla="*/ 315 h 1135"/>
                <a:gd name="T48" fmla="*/ 1126 w 1134"/>
                <a:gd name="T49" fmla="*/ 390 h 1135"/>
                <a:gd name="T50" fmla="*/ 1112 w 1134"/>
                <a:gd name="T51" fmla="*/ 434 h 1135"/>
                <a:gd name="T52" fmla="*/ 1074 w 1134"/>
                <a:gd name="T53" fmla="*/ 501 h 1135"/>
                <a:gd name="T54" fmla="*/ 1043 w 1134"/>
                <a:gd name="T55" fmla="*/ 537 h 1135"/>
                <a:gd name="T56" fmla="*/ 526 w 1134"/>
                <a:gd name="T57" fmla="*/ 1053 h 1135"/>
                <a:gd name="T58" fmla="*/ 489 w 1134"/>
                <a:gd name="T59" fmla="*/ 1083 h 1135"/>
                <a:gd name="T60" fmla="*/ 448 w 1134"/>
                <a:gd name="T61" fmla="*/ 1105 h 1135"/>
                <a:gd name="T62" fmla="*/ 375 w 1134"/>
                <a:gd name="T63" fmla="*/ 1129 h 1135"/>
                <a:gd name="T64" fmla="*/ 330 w 1134"/>
                <a:gd name="T65" fmla="*/ 1134 h 1135"/>
                <a:gd name="T66" fmla="*/ 255 w 1134"/>
                <a:gd name="T67" fmla="*/ 1129 h 1135"/>
                <a:gd name="T68" fmla="*/ 211 w 1134"/>
                <a:gd name="T69" fmla="*/ 1117 h 1135"/>
                <a:gd name="T70" fmla="*/ 142 w 1134"/>
                <a:gd name="T71" fmla="*/ 1083 h 1135"/>
                <a:gd name="T72" fmla="*/ 104 w 1134"/>
                <a:gd name="T73" fmla="*/ 1053 h 1135"/>
                <a:gd name="T74" fmla="*/ 92 w 1134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4" h="1135">
                  <a:moveTo>
                    <a:pt x="92" y="1042"/>
                  </a:moveTo>
                  <a:cubicBezTo>
                    <a:pt x="81" y="1031"/>
                    <a:pt x="71" y="1019"/>
                    <a:pt x="61" y="1006"/>
                  </a:cubicBezTo>
                  <a:cubicBezTo>
                    <a:pt x="52" y="993"/>
                    <a:pt x="44" y="980"/>
                    <a:pt x="36" y="966"/>
                  </a:cubicBezTo>
                  <a:cubicBezTo>
                    <a:pt x="25" y="942"/>
                    <a:pt x="16" y="920"/>
                    <a:pt x="9" y="895"/>
                  </a:cubicBezTo>
                  <a:cubicBezTo>
                    <a:pt x="6" y="880"/>
                    <a:pt x="4" y="865"/>
                    <a:pt x="2" y="850"/>
                  </a:cubicBezTo>
                  <a:cubicBezTo>
                    <a:pt x="0" y="824"/>
                    <a:pt x="1" y="800"/>
                    <a:pt x="4" y="774"/>
                  </a:cubicBezTo>
                  <a:cubicBezTo>
                    <a:pt x="6" y="759"/>
                    <a:pt x="9" y="745"/>
                    <a:pt x="13" y="730"/>
                  </a:cubicBezTo>
                  <a:cubicBezTo>
                    <a:pt x="21" y="705"/>
                    <a:pt x="31" y="682"/>
                    <a:pt x="44" y="659"/>
                  </a:cubicBezTo>
                  <a:cubicBezTo>
                    <a:pt x="61" y="633"/>
                    <a:pt x="61" y="633"/>
                    <a:pt x="61" y="633"/>
                  </a:cubicBezTo>
                  <a:cubicBezTo>
                    <a:pt x="71" y="620"/>
                    <a:pt x="81" y="609"/>
                    <a:pt x="92" y="597"/>
                  </a:cubicBezTo>
                  <a:cubicBezTo>
                    <a:pt x="609" y="81"/>
                    <a:pt x="609" y="81"/>
                    <a:pt x="609" y="81"/>
                  </a:cubicBezTo>
                  <a:cubicBezTo>
                    <a:pt x="621" y="71"/>
                    <a:pt x="633" y="61"/>
                    <a:pt x="646" y="52"/>
                  </a:cubicBezTo>
                  <a:cubicBezTo>
                    <a:pt x="660" y="44"/>
                    <a:pt x="673" y="36"/>
                    <a:pt x="687" y="29"/>
                  </a:cubicBezTo>
                  <a:cubicBezTo>
                    <a:pt x="711" y="19"/>
                    <a:pt x="734" y="12"/>
                    <a:pt x="760" y="6"/>
                  </a:cubicBezTo>
                  <a:cubicBezTo>
                    <a:pt x="775" y="3"/>
                    <a:pt x="789" y="2"/>
                    <a:pt x="805" y="1"/>
                  </a:cubicBezTo>
                  <a:cubicBezTo>
                    <a:pt x="831" y="0"/>
                    <a:pt x="854" y="2"/>
                    <a:pt x="880" y="6"/>
                  </a:cubicBezTo>
                  <a:cubicBezTo>
                    <a:pt x="895" y="9"/>
                    <a:pt x="909" y="13"/>
                    <a:pt x="924" y="18"/>
                  </a:cubicBezTo>
                  <a:cubicBezTo>
                    <a:pt x="949" y="27"/>
                    <a:pt x="971" y="38"/>
                    <a:pt x="993" y="52"/>
                  </a:cubicBezTo>
                  <a:cubicBezTo>
                    <a:pt x="1006" y="61"/>
                    <a:pt x="1019" y="71"/>
                    <a:pt x="1031" y="81"/>
                  </a:cubicBezTo>
                  <a:cubicBezTo>
                    <a:pt x="1043" y="92"/>
                    <a:pt x="1053" y="104"/>
                    <a:pt x="1064" y="116"/>
                  </a:cubicBezTo>
                  <a:cubicBezTo>
                    <a:pt x="1074" y="129"/>
                    <a:pt x="1083" y="141"/>
                    <a:pt x="1091" y="155"/>
                  </a:cubicBezTo>
                  <a:cubicBezTo>
                    <a:pt x="1099" y="169"/>
                    <a:pt x="1105" y="182"/>
                    <a:pt x="1112" y="196"/>
                  </a:cubicBezTo>
                  <a:cubicBezTo>
                    <a:pt x="1121" y="221"/>
                    <a:pt x="1127" y="244"/>
                    <a:pt x="1131" y="270"/>
                  </a:cubicBezTo>
                  <a:cubicBezTo>
                    <a:pt x="1133" y="285"/>
                    <a:pt x="1134" y="300"/>
                    <a:pt x="1134" y="315"/>
                  </a:cubicBezTo>
                  <a:cubicBezTo>
                    <a:pt x="1134" y="341"/>
                    <a:pt x="1131" y="365"/>
                    <a:pt x="1126" y="390"/>
                  </a:cubicBezTo>
                  <a:cubicBezTo>
                    <a:pt x="1121" y="405"/>
                    <a:pt x="1117" y="419"/>
                    <a:pt x="1112" y="434"/>
                  </a:cubicBezTo>
                  <a:cubicBezTo>
                    <a:pt x="1101" y="458"/>
                    <a:pt x="1089" y="479"/>
                    <a:pt x="1074" y="501"/>
                  </a:cubicBezTo>
                  <a:cubicBezTo>
                    <a:pt x="1064" y="514"/>
                    <a:pt x="1054" y="526"/>
                    <a:pt x="1043" y="537"/>
                  </a:cubicBezTo>
                  <a:cubicBezTo>
                    <a:pt x="526" y="1053"/>
                    <a:pt x="526" y="1053"/>
                    <a:pt x="526" y="1053"/>
                  </a:cubicBezTo>
                  <a:cubicBezTo>
                    <a:pt x="514" y="1064"/>
                    <a:pt x="502" y="1073"/>
                    <a:pt x="489" y="1083"/>
                  </a:cubicBezTo>
                  <a:cubicBezTo>
                    <a:pt x="475" y="1091"/>
                    <a:pt x="462" y="1098"/>
                    <a:pt x="448" y="1105"/>
                  </a:cubicBezTo>
                  <a:cubicBezTo>
                    <a:pt x="424" y="1116"/>
                    <a:pt x="401" y="1123"/>
                    <a:pt x="375" y="1129"/>
                  </a:cubicBezTo>
                  <a:cubicBezTo>
                    <a:pt x="360" y="1131"/>
                    <a:pt x="346" y="1133"/>
                    <a:pt x="330" y="1134"/>
                  </a:cubicBezTo>
                  <a:cubicBezTo>
                    <a:pt x="304" y="1135"/>
                    <a:pt x="281" y="1133"/>
                    <a:pt x="255" y="1129"/>
                  </a:cubicBezTo>
                  <a:cubicBezTo>
                    <a:pt x="240" y="1125"/>
                    <a:pt x="226" y="1121"/>
                    <a:pt x="211" y="1117"/>
                  </a:cubicBezTo>
                  <a:cubicBezTo>
                    <a:pt x="186" y="1107"/>
                    <a:pt x="164" y="1097"/>
                    <a:pt x="142" y="1083"/>
                  </a:cubicBezTo>
                  <a:cubicBezTo>
                    <a:pt x="128" y="1073"/>
                    <a:pt x="116" y="1064"/>
                    <a:pt x="104" y="1053"/>
                  </a:cubicBezTo>
                  <a:cubicBezTo>
                    <a:pt x="92" y="1042"/>
                    <a:pt x="92" y="1042"/>
                    <a:pt x="9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25DB097-DBC2-4B0A-A05D-8AB3E9E63A9E}"/>
                </a:ext>
              </a:extLst>
            </p:cNvPr>
            <p:cNvSpPr/>
            <p:nvPr/>
          </p:nvSpPr>
          <p:spPr bwMode="auto">
            <a:xfrm>
              <a:off x="5607458" y="1354644"/>
              <a:ext cx="2778509" cy="2770024"/>
            </a:xfrm>
            <a:custGeom>
              <a:avLst/>
              <a:gdLst>
                <a:gd name="T0" fmla="*/ 106 w 1103"/>
                <a:gd name="T1" fmla="*/ 996 h 1102"/>
                <a:gd name="T2" fmla="*/ 106 w 1103"/>
                <a:gd name="T3" fmla="*/ 996 h 1102"/>
                <a:gd name="T4" fmla="*/ 106 w 1103"/>
                <a:gd name="T5" fmla="*/ 611 h 1102"/>
                <a:gd name="T6" fmla="*/ 611 w 1103"/>
                <a:gd name="T7" fmla="*/ 106 h 1102"/>
                <a:gd name="T8" fmla="*/ 997 w 1103"/>
                <a:gd name="T9" fmla="*/ 106 h 1102"/>
                <a:gd name="T10" fmla="*/ 997 w 1103"/>
                <a:gd name="T11" fmla="*/ 106 h 1102"/>
                <a:gd name="T12" fmla="*/ 997 w 1103"/>
                <a:gd name="T13" fmla="*/ 492 h 1102"/>
                <a:gd name="T14" fmla="*/ 492 w 1103"/>
                <a:gd name="T15" fmla="*/ 996 h 1102"/>
                <a:gd name="T16" fmla="*/ 106 w 1103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2">
                  <a:moveTo>
                    <a:pt x="106" y="996"/>
                  </a:moveTo>
                  <a:cubicBezTo>
                    <a:pt x="106" y="996"/>
                    <a:pt x="106" y="996"/>
                    <a:pt x="106" y="996"/>
                  </a:cubicBezTo>
                  <a:cubicBezTo>
                    <a:pt x="0" y="890"/>
                    <a:pt x="0" y="717"/>
                    <a:pt x="106" y="611"/>
                  </a:cubicBezTo>
                  <a:cubicBezTo>
                    <a:pt x="611" y="106"/>
                    <a:pt x="611" y="106"/>
                    <a:pt x="611" y="106"/>
                  </a:cubicBezTo>
                  <a:cubicBezTo>
                    <a:pt x="717" y="0"/>
                    <a:pt x="890" y="0"/>
                    <a:pt x="997" y="106"/>
                  </a:cubicBezTo>
                  <a:cubicBezTo>
                    <a:pt x="997" y="106"/>
                    <a:pt x="997" y="106"/>
                    <a:pt x="997" y="106"/>
                  </a:cubicBezTo>
                  <a:cubicBezTo>
                    <a:pt x="1103" y="212"/>
                    <a:pt x="1103" y="386"/>
                    <a:pt x="997" y="492"/>
                  </a:cubicBezTo>
                  <a:cubicBezTo>
                    <a:pt x="492" y="996"/>
                    <a:pt x="492" y="996"/>
                    <a:pt x="492" y="996"/>
                  </a:cubicBezTo>
                  <a:cubicBezTo>
                    <a:pt x="386" y="1102"/>
                    <a:pt x="212" y="1102"/>
                    <a:pt x="106" y="99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EBB7A74-DA73-4875-A538-9C5762B6935A}"/>
                </a:ext>
              </a:extLst>
            </p:cNvPr>
            <p:cNvSpPr/>
            <p:nvPr/>
          </p:nvSpPr>
          <p:spPr bwMode="auto">
            <a:xfrm>
              <a:off x="5567453" y="3112427"/>
              <a:ext cx="2858519" cy="2851246"/>
            </a:xfrm>
            <a:custGeom>
              <a:avLst/>
              <a:gdLst>
                <a:gd name="T0" fmla="*/ 92 w 1135"/>
                <a:gd name="T1" fmla="*/ 92 h 1134"/>
                <a:gd name="T2" fmla="*/ 129 w 1135"/>
                <a:gd name="T3" fmla="*/ 61 h 1134"/>
                <a:gd name="T4" fmla="*/ 169 w 1135"/>
                <a:gd name="T5" fmla="*/ 36 h 1134"/>
                <a:gd name="T6" fmla="*/ 240 w 1135"/>
                <a:gd name="T7" fmla="*/ 9 h 1134"/>
                <a:gd name="T8" fmla="*/ 285 w 1135"/>
                <a:gd name="T9" fmla="*/ 2 h 1134"/>
                <a:gd name="T10" fmla="*/ 360 w 1135"/>
                <a:gd name="T11" fmla="*/ 4 h 1134"/>
                <a:gd name="T12" fmla="*/ 405 w 1135"/>
                <a:gd name="T13" fmla="*/ 13 h 1134"/>
                <a:gd name="T14" fmla="*/ 475 w 1135"/>
                <a:gd name="T15" fmla="*/ 44 h 1134"/>
                <a:gd name="T16" fmla="*/ 502 w 1135"/>
                <a:gd name="T17" fmla="*/ 61 h 1134"/>
                <a:gd name="T18" fmla="*/ 538 w 1135"/>
                <a:gd name="T19" fmla="*/ 92 h 1134"/>
                <a:gd name="T20" fmla="*/ 1054 w 1135"/>
                <a:gd name="T21" fmla="*/ 609 h 1134"/>
                <a:gd name="T22" fmla="*/ 1083 w 1135"/>
                <a:gd name="T23" fmla="*/ 646 h 1134"/>
                <a:gd name="T24" fmla="*/ 1105 w 1135"/>
                <a:gd name="T25" fmla="*/ 687 h 1134"/>
                <a:gd name="T26" fmla="*/ 1129 w 1135"/>
                <a:gd name="T27" fmla="*/ 760 h 1134"/>
                <a:gd name="T28" fmla="*/ 1134 w 1135"/>
                <a:gd name="T29" fmla="*/ 805 h 1134"/>
                <a:gd name="T30" fmla="*/ 1129 w 1135"/>
                <a:gd name="T31" fmla="*/ 880 h 1134"/>
                <a:gd name="T32" fmla="*/ 1117 w 1135"/>
                <a:gd name="T33" fmla="*/ 924 h 1134"/>
                <a:gd name="T34" fmla="*/ 1083 w 1135"/>
                <a:gd name="T35" fmla="*/ 993 h 1134"/>
                <a:gd name="T36" fmla="*/ 1054 w 1135"/>
                <a:gd name="T37" fmla="*/ 1031 h 1134"/>
                <a:gd name="T38" fmla="*/ 1019 w 1135"/>
                <a:gd name="T39" fmla="*/ 1064 h 1134"/>
                <a:gd name="T40" fmla="*/ 980 w 1135"/>
                <a:gd name="T41" fmla="*/ 1091 h 1134"/>
                <a:gd name="T42" fmla="*/ 938 w 1135"/>
                <a:gd name="T43" fmla="*/ 1112 h 1134"/>
                <a:gd name="T44" fmla="*/ 865 w 1135"/>
                <a:gd name="T45" fmla="*/ 1131 h 1134"/>
                <a:gd name="T46" fmla="*/ 820 w 1135"/>
                <a:gd name="T47" fmla="*/ 1134 h 1134"/>
                <a:gd name="T48" fmla="*/ 745 w 1135"/>
                <a:gd name="T49" fmla="*/ 1126 h 1134"/>
                <a:gd name="T50" fmla="*/ 701 w 1135"/>
                <a:gd name="T51" fmla="*/ 1112 h 1134"/>
                <a:gd name="T52" fmla="*/ 633 w 1135"/>
                <a:gd name="T53" fmla="*/ 1074 h 1134"/>
                <a:gd name="T54" fmla="*/ 597 w 1135"/>
                <a:gd name="T55" fmla="*/ 1043 h 1134"/>
                <a:gd name="T56" fmla="*/ 81 w 1135"/>
                <a:gd name="T57" fmla="*/ 526 h 1134"/>
                <a:gd name="T58" fmla="*/ 52 w 1135"/>
                <a:gd name="T59" fmla="*/ 489 h 1134"/>
                <a:gd name="T60" fmla="*/ 30 w 1135"/>
                <a:gd name="T61" fmla="*/ 448 h 1134"/>
                <a:gd name="T62" fmla="*/ 6 w 1135"/>
                <a:gd name="T63" fmla="*/ 375 h 1134"/>
                <a:gd name="T64" fmla="*/ 1 w 1135"/>
                <a:gd name="T65" fmla="*/ 330 h 1134"/>
                <a:gd name="T66" fmla="*/ 6 w 1135"/>
                <a:gd name="T67" fmla="*/ 255 h 1134"/>
                <a:gd name="T68" fmla="*/ 18 w 1135"/>
                <a:gd name="T69" fmla="*/ 211 h 1134"/>
                <a:gd name="T70" fmla="*/ 52 w 1135"/>
                <a:gd name="T71" fmla="*/ 142 h 1134"/>
                <a:gd name="T72" fmla="*/ 81 w 1135"/>
                <a:gd name="T73" fmla="*/ 104 h 1134"/>
                <a:gd name="T74" fmla="*/ 92 w 1135"/>
                <a:gd name="T75" fmla="*/ 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4">
                  <a:moveTo>
                    <a:pt x="92" y="92"/>
                  </a:moveTo>
                  <a:cubicBezTo>
                    <a:pt x="104" y="81"/>
                    <a:pt x="116" y="71"/>
                    <a:pt x="129" y="61"/>
                  </a:cubicBezTo>
                  <a:cubicBezTo>
                    <a:pt x="142" y="52"/>
                    <a:pt x="155" y="44"/>
                    <a:pt x="169" y="36"/>
                  </a:cubicBezTo>
                  <a:cubicBezTo>
                    <a:pt x="192" y="25"/>
                    <a:pt x="215" y="16"/>
                    <a:pt x="240" y="9"/>
                  </a:cubicBezTo>
                  <a:cubicBezTo>
                    <a:pt x="255" y="6"/>
                    <a:pt x="270" y="4"/>
                    <a:pt x="285" y="2"/>
                  </a:cubicBezTo>
                  <a:cubicBezTo>
                    <a:pt x="311" y="0"/>
                    <a:pt x="335" y="1"/>
                    <a:pt x="360" y="4"/>
                  </a:cubicBezTo>
                  <a:cubicBezTo>
                    <a:pt x="376" y="6"/>
                    <a:pt x="390" y="9"/>
                    <a:pt x="405" y="13"/>
                  </a:cubicBezTo>
                  <a:cubicBezTo>
                    <a:pt x="430" y="21"/>
                    <a:pt x="452" y="31"/>
                    <a:pt x="475" y="44"/>
                  </a:cubicBezTo>
                  <a:cubicBezTo>
                    <a:pt x="502" y="61"/>
                    <a:pt x="502" y="61"/>
                    <a:pt x="502" y="61"/>
                  </a:cubicBezTo>
                  <a:cubicBezTo>
                    <a:pt x="514" y="71"/>
                    <a:pt x="526" y="81"/>
                    <a:pt x="538" y="92"/>
                  </a:cubicBezTo>
                  <a:cubicBezTo>
                    <a:pt x="1054" y="609"/>
                    <a:pt x="1054" y="609"/>
                    <a:pt x="1054" y="609"/>
                  </a:cubicBezTo>
                  <a:cubicBezTo>
                    <a:pt x="1064" y="621"/>
                    <a:pt x="1074" y="633"/>
                    <a:pt x="1083" y="646"/>
                  </a:cubicBezTo>
                  <a:cubicBezTo>
                    <a:pt x="1091" y="660"/>
                    <a:pt x="1098" y="673"/>
                    <a:pt x="1105" y="687"/>
                  </a:cubicBezTo>
                  <a:cubicBezTo>
                    <a:pt x="1116" y="711"/>
                    <a:pt x="1123" y="734"/>
                    <a:pt x="1129" y="760"/>
                  </a:cubicBezTo>
                  <a:cubicBezTo>
                    <a:pt x="1131" y="775"/>
                    <a:pt x="1133" y="789"/>
                    <a:pt x="1134" y="805"/>
                  </a:cubicBezTo>
                  <a:cubicBezTo>
                    <a:pt x="1135" y="831"/>
                    <a:pt x="1133" y="854"/>
                    <a:pt x="1129" y="880"/>
                  </a:cubicBezTo>
                  <a:cubicBezTo>
                    <a:pt x="1125" y="895"/>
                    <a:pt x="1122" y="909"/>
                    <a:pt x="1117" y="924"/>
                  </a:cubicBezTo>
                  <a:cubicBezTo>
                    <a:pt x="1108" y="949"/>
                    <a:pt x="1097" y="971"/>
                    <a:pt x="1083" y="993"/>
                  </a:cubicBezTo>
                  <a:cubicBezTo>
                    <a:pt x="1074" y="1006"/>
                    <a:pt x="1064" y="1019"/>
                    <a:pt x="1054" y="1031"/>
                  </a:cubicBezTo>
                  <a:cubicBezTo>
                    <a:pt x="1042" y="1043"/>
                    <a:pt x="1031" y="1053"/>
                    <a:pt x="1019" y="1064"/>
                  </a:cubicBezTo>
                  <a:cubicBezTo>
                    <a:pt x="1006" y="1074"/>
                    <a:pt x="993" y="1083"/>
                    <a:pt x="980" y="1091"/>
                  </a:cubicBezTo>
                  <a:cubicBezTo>
                    <a:pt x="966" y="1099"/>
                    <a:pt x="953" y="1105"/>
                    <a:pt x="938" y="1112"/>
                  </a:cubicBezTo>
                  <a:cubicBezTo>
                    <a:pt x="914" y="1121"/>
                    <a:pt x="891" y="1127"/>
                    <a:pt x="865" y="1131"/>
                  </a:cubicBezTo>
                  <a:cubicBezTo>
                    <a:pt x="850" y="1133"/>
                    <a:pt x="835" y="1134"/>
                    <a:pt x="820" y="1134"/>
                  </a:cubicBezTo>
                  <a:cubicBezTo>
                    <a:pt x="794" y="1134"/>
                    <a:pt x="770" y="1131"/>
                    <a:pt x="745" y="1126"/>
                  </a:cubicBezTo>
                  <a:cubicBezTo>
                    <a:pt x="730" y="1121"/>
                    <a:pt x="716" y="1117"/>
                    <a:pt x="701" y="1112"/>
                  </a:cubicBezTo>
                  <a:cubicBezTo>
                    <a:pt x="677" y="1101"/>
                    <a:pt x="655" y="1089"/>
                    <a:pt x="633" y="1074"/>
                  </a:cubicBezTo>
                  <a:cubicBezTo>
                    <a:pt x="621" y="1064"/>
                    <a:pt x="609" y="1054"/>
                    <a:pt x="597" y="1043"/>
                  </a:cubicBezTo>
                  <a:cubicBezTo>
                    <a:pt x="81" y="526"/>
                    <a:pt x="81" y="526"/>
                    <a:pt x="81" y="526"/>
                  </a:cubicBezTo>
                  <a:cubicBezTo>
                    <a:pt x="71" y="514"/>
                    <a:pt x="61" y="502"/>
                    <a:pt x="52" y="489"/>
                  </a:cubicBezTo>
                  <a:cubicBezTo>
                    <a:pt x="44" y="475"/>
                    <a:pt x="37" y="462"/>
                    <a:pt x="30" y="448"/>
                  </a:cubicBezTo>
                  <a:cubicBezTo>
                    <a:pt x="19" y="424"/>
                    <a:pt x="12" y="401"/>
                    <a:pt x="6" y="375"/>
                  </a:cubicBezTo>
                  <a:cubicBezTo>
                    <a:pt x="4" y="360"/>
                    <a:pt x="2" y="346"/>
                    <a:pt x="1" y="330"/>
                  </a:cubicBezTo>
                  <a:cubicBezTo>
                    <a:pt x="0" y="304"/>
                    <a:pt x="2" y="281"/>
                    <a:pt x="6" y="255"/>
                  </a:cubicBezTo>
                  <a:cubicBezTo>
                    <a:pt x="9" y="240"/>
                    <a:pt x="13" y="226"/>
                    <a:pt x="18" y="211"/>
                  </a:cubicBezTo>
                  <a:cubicBezTo>
                    <a:pt x="27" y="186"/>
                    <a:pt x="38" y="164"/>
                    <a:pt x="52" y="142"/>
                  </a:cubicBezTo>
                  <a:cubicBezTo>
                    <a:pt x="61" y="128"/>
                    <a:pt x="71" y="116"/>
                    <a:pt x="81" y="104"/>
                  </a:cubicBezTo>
                  <a:cubicBezTo>
                    <a:pt x="92" y="92"/>
                    <a:pt x="92" y="92"/>
                    <a:pt x="92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3BAB2A6-E073-4DEF-A5C4-83F3DA74268C}"/>
                </a:ext>
              </a:extLst>
            </p:cNvPr>
            <p:cNvSpPr/>
            <p:nvPr/>
          </p:nvSpPr>
          <p:spPr bwMode="auto">
            <a:xfrm>
              <a:off x="5607458" y="3152432"/>
              <a:ext cx="2778509" cy="2773661"/>
            </a:xfrm>
            <a:custGeom>
              <a:avLst/>
              <a:gdLst>
                <a:gd name="T0" fmla="*/ 106 w 1103"/>
                <a:gd name="T1" fmla="*/ 106 h 1103"/>
                <a:gd name="T2" fmla="*/ 106 w 1103"/>
                <a:gd name="T3" fmla="*/ 106 h 1103"/>
                <a:gd name="T4" fmla="*/ 492 w 1103"/>
                <a:gd name="T5" fmla="*/ 106 h 1103"/>
                <a:gd name="T6" fmla="*/ 997 w 1103"/>
                <a:gd name="T7" fmla="*/ 611 h 1103"/>
                <a:gd name="T8" fmla="*/ 997 w 1103"/>
                <a:gd name="T9" fmla="*/ 997 h 1103"/>
                <a:gd name="T10" fmla="*/ 997 w 1103"/>
                <a:gd name="T11" fmla="*/ 997 h 1103"/>
                <a:gd name="T12" fmla="*/ 611 w 1103"/>
                <a:gd name="T13" fmla="*/ 997 h 1103"/>
                <a:gd name="T14" fmla="*/ 106 w 1103"/>
                <a:gd name="T15" fmla="*/ 492 h 1103"/>
                <a:gd name="T16" fmla="*/ 106 w 1103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3">
                  <a:moveTo>
                    <a:pt x="106" y="106"/>
                  </a:moveTo>
                  <a:cubicBezTo>
                    <a:pt x="106" y="106"/>
                    <a:pt x="106" y="106"/>
                    <a:pt x="106" y="106"/>
                  </a:cubicBezTo>
                  <a:cubicBezTo>
                    <a:pt x="212" y="0"/>
                    <a:pt x="386" y="0"/>
                    <a:pt x="492" y="106"/>
                  </a:cubicBezTo>
                  <a:cubicBezTo>
                    <a:pt x="997" y="611"/>
                    <a:pt x="997" y="611"/>
                    <a:pt x="997" y="611"/>
                  </a:cubicBezTo>
                  <a:cubicBezTo>
                    <a:pt x="1103" y="717"/>
                    <a:pt x="1103" y="890"/>
                    <a:pt x="997" y="997"/>
                  </a:cubicBezTo>
                  <a:cubicBezTo>
                    <a:pt x="997" y="997"/>
                    <a:pt x="997" y="997"/>
                    <a:pt x="997" y="997"/>
                  </a:cubicBezTo>
                  <a:cubicBezTo>
                    <a:pt x="890" y="1103"/>
                    <a:pt x="717" y="1103"/>
                    <a:pt x="611" y="997"/>
                  </a:cubicBezTo>
                  <a:cubicBezTo>
                    <a:pt x="106" y="492"/>
                    <a:pt x="106" y="492"/>
                    <a:pt x="106" y="492"/>
                  </a:cubicBezTo>
                  <a:cubicBezTo>
                    <a:pt x="0" y="386"/>
                    <a:pt x="0" y="212"/>
                    <a:pt x="106" y="1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0A82FDF-7329-4E88-8B32-C78FF77D1B93}"/>
                </a:ext>
              </a:extLst>
            </p:cNvPr>
            <p:cNvSpPr/>
            <p:nvPr/>
          </p:nvSpPr>
          <p:spPr bwMode="auto">
            <a:xfrm>
              <a:off x="3766028" y="1313427"/>
              <a:ext cx="2858519" cy="2854883"/>
            </a:xfrm>
            <a:custGeom>
              <a:avLst/>
              <a:gdLst>
                <a:gd name="T0" fmla="*/ 1042 w 1135"/>
                <a:gd name="T1" fmla="*/ 1042 h 1135"/>
                <a:gd name="T2" fmla="*/ 1074 w 1135"/>
                <a:gd name="T3" fmla="*/ 1006 h 1135"/>
                <a:gd name="T4" fmla="*/ 1098 w 1135"/>
                <a:gd name="T5" fmla="*/ 966 h 1135"/>
                <a:gd name="T6" fmla="*/ 1125 w 1135"/>
                <a:gd name="T7" fmla="*/ 895 h 1135"/>
                <a:gd name="T8" fmla="*/ 1133 w 1135"/>
                <a:gd name="T9" fmla="*/ 850 h 1135"/>
                <a:gd name="T10" fmla="*/ 1131 w 1135"/>
                <a:gd name="T11" fmla="*/ 774 h 1135"/>
                <a:gd name="T12" fmla="*/ 1121 w 1135"/>
                <a:gd name="T13" fmla="*/ 730 h 1135"/>
                <a:gd name="T14" fmla="*/ 1091 w 1135"/>
                <a:gd name="T15" fmla="*/ 659 h 1135"/>
                <a:gd name="T16" fmla="*/ 1074 w 1135"/>
                <a:gd name="T17" fmla="*/ 633 h 1135"/>
                <a:gd name="T18" fmla="*/ 1043 w 1135"/>
                <a:gd name="T19" fmla="*/ 597 h 1135"/>
                <a:gd name="T20" fmla="*/ 526 w 1135"/>
                <a:gd name="T21" fmla="*/ 81 h 1135"/>
                <a:gd name="T22" fmla="*/ 488 w 1135"/>
                <a:gd name="T23" fmla="*/ 52 h 1135"/>
                <a:gd name="T24" fmla="*/ 448 w 1135"/>
                <a:gd name="T25" fmla="*/ 29 h 1135"/>
                <a:gd name="T26" fmla="*/ 375 w 1135"/>
                <a:gd name="T27" fmla="*/ 6 h 1135"/>
                <a:gd name="T28" fmla="*/ 330 w 1135"/>
                <a:gd name="T29" fmla="*/ 1 h 1135"/>
                <a:gd name="T30" fmla="*/ 255 w 1135"/>
                <a:gd name="T31" fmla="*/ 6 h 1135"/>
                <a:gd name="T32" fmla="*/ 211 w 1135"/>
                <a:gd name="T33" fmla="*/ 18 h 1135"/>
                <a:gd name="T34" fmla="*/ 142 w 1135"/>
                <a:gd name="T35" fmla="*/ 52 h 1135"/>
                <a:gd name="T36" fmla="*/ 104 w 1135"/>
                <a:gd name="T37" fmla="*/ 81 h 1135"/>
                <a:gd name="T38" fmla="*/ 71 w 1135"/>
                <a:gd name="T39" fmla="*/ 116 h 1135"/>
                <a:gd name="T40" fmla="*/ 44 w 1135"/>
                <a:gd name="T41" fmla="*/ 155 h 1135"/>
                <a:gd name="T42" fmla="*/ 23 w 1135"/>
                <a:gd name="T43" fmla="*/ 196 h 1135"/>
                <a:gd name="T44" fmla="*/ 3 w 1135"/>
                <a:gd name="T45" fmla="*/ 270 h 1135"/>
                <a:gd name="T46" fmla="*/ 0 w 1135"/>
                <a:gd name="T47" fmla="*/ 315 h 1135"/>
                <a:gd name="T48" fmla="*/ 9 w 1135"/>
                <a:gd name="T49" fmla="*/ 390 h 1135"/>
                <a:gd name="T50" fmla="*/ 23 w 1135"/>
                <a:gd name="T51" fmla="*/ 434 h 1135"/>
                <a:gd name="T52" fmla="*/ 61 w 1135"/>
                <a:gd name="T53" fmla="*/ 501 h 1135"/>
                <a:gd name="T54" fmla="*/ 92 w 1135"/>
                <a:gd name="T55" fmla="*/ 537 h 1135"/>
                <a:gd name="T56" fmla="*/ 608 w 1135"/>
                <a:gd name="T57" fmla="*/ 1053 h 1135"/>
                <a:gd name="T58" fmla="*/ 646 w 1135"/>
                <a:gd name="T59" fmla="*/ 1083 h 1135"/>
                <a:gd name="T60" fmla="*/ 687 w 1135"/>
                <a:gd name="T61" fmla="*/ 1105 h 1135"/>
                <a:gd name="T62" fmla="*/ 759 w 1135"/>
                <a:gd name="T63" fmla="*/ 1129 h 1135"/>
                <a:gd name="T64" fmla="*/ 804 w 1135"/>
                <a:gd name="T65" fmla="*/ 1134 h 1135"/>
                <a:gd name="T66" fmla="*/ 880 w 1135"/>
                <a:gd name="T67" fmla="*/ 1129 h 1135"/>
                <a:gd name="T68" fmla="*/ 924 w 1135"/>
                <a:gd name="T69" fmla="*/ 1117 h 1135"/>
                <a:gd name="T70" fmla="*/ 993 w 1135"/>
                <a:gd name="T71" fmla="*/ 1083 h 1135"/>
                <a:gd name="T72" fmla="*/ 1031 w 1135"/>
                <a:gd name="T73" fmla="*/ 1053 h 1135"/>
                <a:gd name="T74" fmla="*/ 1042 w 1135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5">
                  <a:moveTo>
                    <a:pt x="1042" y="1042"/>
                  </a:moveTo>
                  <a:cubicBezTo>
                    <a:pt x="1054" y="1031"/>
                    <a:pt x="1064" y="1019"/>
                    <a:pt x="1074" y="1006"/>
                  </a:cubicBezTo>
                  <a:cubicBezTo>
                    <a:pt x="1083" y="993"/>
                    <a:pt x="1091" y="980"/>
                    <a:pt x="1098" y="966"/>
                  </a:cubicBezTo>
                  <a:cubicBezTo>
                    <a:pt x="1110" y="942"/>
                    <a:pt x="1118" y="920"/>
                    <a:pt x="1125" y="895"/>
                  </a:cubicBezTo>
                  <a:cubicBezTo>
                    <a:pt x="1129" y="880"/>
                    <a:pt x="1131" y="865"/>
                    <a:pt x="1133" y="850"/>
                  </a:cubicBezTo>
                  <a:cubicBezTo>
                    <a:pt x="1135" y="824"/>
                    <a:pt x="1134" y="800"/>
                    <a:pt x="1131" y="774"/>
                  </a:cubicBezTo>
                  <a:cubicBezTo>
                    <a:pt x="1128" y="759"/>
                    <a:pt x="1125" y="745"/>
                    <a:pt x="1121" y="730"/>
                  </a:cubicBezTo>
                  <a:cubicBezTo>
                    <a:pt x="1113" y="705"/>
                    <a:pt x="1104" y="682"/>
                    <a:pt x="1091" y="659"/>
                  </a:cubicBezTo>
                  <a:cubicBezTo>
                    <a:pt x="1074" y="633"/>
                    <a:pt x="1074" y="633"/>
                    <a:pt x="1074" y="633"/>
                  </a:cubicBezTo>
                  <a:cubicBezTo>
                    <a:pt x="1064" y="620"/>
                    <a:pt x="1054" y="609"/>
                    <a:pt x="1043" y="597"/>
                  </a:cubicBezTo>
                  <a:cubicBezTo>
                    <a:pt x="526" y="81"/>
                    <a:pt x="526" y="81"/>
                    <a:pt x="526" y="81"/>
                  </a:cubicBezTo>
                  <a:cubicBezTo>
                    <a:pt x="514" y="71"/>
                    <a:pt x="502" y="61"/>
                    <a:pt x="488" y="52"/>
                  </a:cubicBezTo>
                  <a:cubicBezTo>
                    <a:pt x="475" y="44"/>
                    <a:pt x="462" y="36"/>
                    <a:pt x="448" y="29"/>
                  </a:cubicBezTo>
                  <a:cubicBezTo>
                    <a:pt x="424" y="19"/>
                    <a:pt x="401" y="12"/>
                    <a:pt x="375" y="6"/>
                  </a:cubicBezTo>
                  <a:cubicBezTo>
                    <a:pt x="360" y="3"/>
                    <a:pt x="345" y="2"/>
                    <a:pt x="330" y="1"/>
                  </a:cubicBezTo>
                  <a:cubicBezTo>
                    <a:pt x="304" y="0"/>
                    <a:pt x="280" y="2"/>
                    <a:pt x="255" y="6"/>
                  </a:cubicBezTo>
                  <a:cubicBezTo>
                    <a:pt x="240" y="9"/>
                    <a:pt x="225" y="13"/>
                    <a:pt x="211" y="18"/>
                  </a:cubicBezTo>
                  <a:cubicBezTo>
                    <a:pt x="186" y="27"/>
                    <a:pt x="164" y="38"/>
                    <a:pt x="142" y="52"/>
                  </a:cubicBezTo>
                  <a:cubicBezTo>
                    <a:pt x="128" y="61"/>
                    <a:pt x="116" y="71"/>
                    <a:pt x="104" y="81"/>
                  </a:cubicBezTo>
                  <a:cubicBezTo>
                    <a:pt x="92" y="92"/>
                    <a:pt x="81" y="104"/>
                    <a:pt x="71" y="116"/>
                  </a:cubicBezTo>
                  <a:cubicBezTo>
                    <a:pt x="61" y="129"/>
                    <a:pt x="52" y="141"/>
                    <a:pt x="44" y="155"/>
                  </a:cubicBezTo>
                  <a:cubicBezTo>
                    <a:pt x="36" y="169"/>
                    <a:pt x="29" y="182"/>
                    <a:pt x="23" y="196"/>
                  </a:cubicBezTo>
                  <a:cubicBezTo>
                    <a:pt x="14" y="221"/>
                    <a:pt x="8" y="244"/>
                    <a:pt x="3" y="270"/>
                  </a:cubicBezTo>
                  <a:cubicBezTo>
                    <a:pt x="2" y="285"/>
                    <a:pt x="1" y="300"/>
                    <a:pt x="0" y="315"/>
                  </a:cubicBezTo>
                  <a:cubicBezTo>
                    <a:pt x="1" y="341"/>
                    <a:pt x="4" y="365"/>
                    <a:pt x="9" y="390"/>
                  </a:cubicBezTo>
                  <a:cubicBezTo>
                    <a:pt x="13" y="405"/>
                    <a:pt x="18" y="419"/>
                    <a:pt x="23" y="434"/>
                  </a:cubicBezTo>
                  <a:cubicBezTo>
                    <a:pt x="34" y="458"/>
                    <a:pt x="46" y="479"/>
                    <a:pt x="61" y="501"/>
                  </a:cubicBezTo>
                  <a:cubicBezTo>
                    <a:pt x="71" y="514"/>
                    <a:pt x="81" y="526"/>
                    <a:pt x="92" y="537"/>
                  </a:cubicBezTo>
                  <a:cubicBezTo>
                    <a:pt x="608" y="1053"/>
                    <a:pt x="608" y="1053"/>
                    <a:pt x="608" y="1053"/>
                  </a:cubicBezTo>
                  <a:cubicBezTo>
                    <a:pt x="621" y="1064"/>
                    <a:pt x="633" y="1073"/>
                    <a:pt x="646" y="1083"/>
                  </a:cubicBezTo>
                  <a:cubicBezTo>
                    <a:pt x="659" y="1091"/>
                    <a:pt x="673" y="1098"/>
                    <a:pt x="687" y="1105"/>
                  </a:cubicBezTo>
                  <a:cubicBezTo>
                    <a:pt x="711" y="1116"/>
                    <a:pt x="734" y="1123"/>
                    <a:pt x="759" y="1129"/>
                  </a:cubicBezTo>
                  <a:cubicBezTo>
                    <a:pt x="774" y="1131"/>
                    <a:pt x="789" y="1133"/>
                    <a:pt x="804" y="1134"/>
                  </a:cubicBezTo>
                  <a:cubicBezTo>
                    <a:pt x="830" y="1135"/>
                    <a:pt x="854" y="1133"/>
                    <a:pt x="880" y="1129"/>
                  </a:cubicBezTo>
                  <a:cubicBezTo>
                    <a:pt x="895" y="1125"/>
                    <a:pt x="909" y="1121"/>
                    <a:pt x="924" y="1117"/>
                  </a:cubicBezTo>
                  <a:cubicBezTo>
                    <a:pt x="949" y="1107"/>
                    <a:pt x="970" y="1097"/>
                    <a:pt x="993" y="1083"/>
                  </a:cubicBezTo>
                  <a:cubicBezTo>
                    <a:pt x="1006" y="1073"/>
                    <a:pt x="1018" y="1064"/>
                    <a:pt x="1031" y="1053"/>
                  </a:cubicBezTo>
                  <a:cubicBezTo>
                    <a:pt x="1042" y="1042"/>
                    <a:pt x="1042" y="1042"/>
                    <a:pt x="104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88F369C-F886-4144-906A-E126E9E1D2C7}"/>
                </a:ext>
              </a:extLst>
            </p:cNvPr>
            <p:cNvSpPr/>
            <p:nvPr/>
          </p:nvSpPr>
          <p:spPr bwMode="auto">
            <a:xfrm>
              <a:off x="3806033" y="1354644"/>
              <a:ext cx="2776084" cy="2770024"/>
            </a:xfrm>
            <a:custGeom>
              <a:avLst/>
              <a:gdLst>
                <a:gd name="T0" fmla="*/ 996 w 1102"/>
                <a:gd name="T1" fmla="*/ 996 h 1102"/>
                <a:gd name="T2" fmla="*/ 996 w 1102"/>
                <a:gd name="T3" fmla="*/ 996 h 1102"/>
                <a:gd name="T4" fmla="*/ 996 w 1102"/>
                <a:gd name="T5" fmla="*/ 611 h 1102"/>
                <a:gd name="T6" fmla="*/ 492 w 1102"/>
                <a:gd name="T7" fmla="*/ 106 h 1102"/>
                <a:gd name="T8" fmla="*/ 106 w 1102"/>
                <a:gd name="T9" fmla="*/ 106 h 1102"/>
                <a:gd name="T10" fmla="*/ 106 w 1102"/>
                <a:gd name="T11" fmla="*/ 106 h 1102"/>
                <a:gd name="T12" fmla="*/ 106 w 1102"/>
                <a:gd name="T13" fmla="*/ 492 h 1102"/>
                <a:gd name="T14" fmla="*/ 611 w 1102"/>
                <a:gd name="T15" fmla="*/ 996 h 1102"/>
                <a:gd name="T16" fmla="*/ 996 w 1102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2">
                  <a:moveTo>
                    <a:pt x="996" y="996"/>
                  </a:moveTo>
                  <a:cubicBezTo>
                    <a:pt x="996" y="996"/>
                    <a:pt x="996" y="996"/>
                    <a:pt x="996" y="996"/>
                  </a:cubicBezTo>
                  <a:cubicBezTo>
                    <a:pt x="1102" y="890"/>
                    <a:pt x="1102" y="717"/>
                    <a:pt x="996" y="611"/>
                  </a:cubicBezTo>
                  <a:cubicBezTo>
                    <a:pt x="492" y="106"/>
                    <a:pt x="492" y="106"/>
                    <a:pt x="492" y="106"/>
                  </a:cubicBezTo>
                  <a:cubicBezTo>
                    <a:pt x="386" y="0"/>
                    <a:pt x="212" y="0"/>
                    <a:pt x="106" y="106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0" y="212"/>
                    <a:pt x="0" y="386"/>
                    <a:pt x="106" y="492"/>
                  </a:cubicBezTo>
                  <a:cubicBezTo>
                    <a:pt x="611" y="996"/>
                    <a:pt x="611" y="996"/>
                    <a:pt x="611" y="996"/>
                  </a:cubicBezTo>
                  <a:cubicBezTo>
                    <a:pt x="717" y="1102"/>
                    <a:pt x="890" y="1102"/>
                    <a:pt x="996" y="99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7B98C935-A084-4D63-9F32-8622808D6AAE}"/>
                </a:ext>
              </a:extLst>
            </p:cNvPr>
            <p:cNvSpPr/>
            <p:nvPr/>
          </p:nvSpPr>
          <p:spPr bwMode="auto">
            <a:xfrm>
              <a:off x="4621886" y="2169285"/>
              <a:ext cx="2948226" cy="29421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B57BF1A-AD4B-4650-ADD7-D2E3382752CD}"/>
                </a:ext>
              </a:extLst>
            </p:cNvPr>
            <p:cNvSpPr/>
            <p:nvPr/>
          </p:nvSpPr>
          <p:spPr bwMode="auto">
            <a:xfrm>
              <a:off x="4730990" y="2277177"/>
              <a:ext cx="1311670" cy="1310458"/>
            </a:xfrm>
            <a:custGeom>
              <a:avLst/>
              <a:gdLst>
                <a:gd name="T0" fmla="*/ 0 w 521"/>
                <a:gd name="T1" fmla="*/ 521 h 521"/>
                <a:gd name="T2" fmla="*/ 521 w 521"/>
                <a:gd name="T3" fmla="*/ 0 h 521"/>
                <a:gd name="T4" fmla="*/ 521 w 521"/>
                <a:gd name="T5" fmla="*/ 521 h 521"/>
                <a:gd name="T6" fmla="*/ 0 w 521"/>
                <a:gd name="T7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1">
                  <a:moveTo>
                    <a:pt x="0" y="521"/>
                  </a:moveTo>
                  <a:cubicBezTo>
                    <a:pt x="11" y="239"/>
                    <a:pt x="239" y="11"/>
                    <a:pt x="521" y="0"/>
                  </a:cubicBezTo>
                  <a:cubicBezTo>
                    <a:pt x="521" y="521"/>
                    <a:pt x="521" y="521"/>
                    <a:pt x="521" y="521"/>
                  </a:cubicBezTo>
                  <a:cubicBezTo>
                    <a:pt x="0" y="521"/>
                    <a:pt x="0" y="521"/>
                    <a:pt x="0" y="5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43BF3F4-2515-4403-A3D1-21ED5CA43994}"/>
                </a:ext>
              </a:extLst>
            </p:cNvPr>
            <p:cNvSpPr/>
            <p:nvPr/>
          </p:nvSpPr>
          <p:spPr bwMode="auto">
            <a:xfrm>
              <a:off x="4730990" y="3690678"/>
              <a:ext cx="1311670" cy="1311670"/>
            </a:xfrm>
            <a:custGeom>
              <a:avLst/>
              <a:gdLst>
                <a:gd name="T0" fmla="*/ 521 w 521"/>
                <a:gd name="T1" fmla="*/ 522 h 522"/>
                <a:gd name="T2" fmla="*/ 0 w 521"/>
                <a:gd name="T3" fmla="*/ 0 h 522"/>
                <a:gd name="T4" fmla="*/ 521 w 521"/>
                <a:gd name="T5" fmla="*/ 0 h 522"/>
                <a:gd name="T6" fmla="*/ 521 w 521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2">
                  <a:moveTo>
                    <a:pt x="521" y="522"/>
                  </a:moveTo>
                  <a:cubicBezTo>
                    <a:pt x="239" y="511"/>
                    <a:pt x="11" y="283"/>
                    <a:pt x="0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21" y="522"/>
                    <a:pt x="521" y="522"/>
                    <a:pt x="521" y="5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9918517-EFC1-48FB-A457-A6460334F78F}"/>
                </a:ext>
              </a:extLst>
            </p:cNvPr>
            <p:cNvSpPr/>
            <p:nvPr/>
          </p:nvSpPr>
          <p:spPr bwMode="auto">
            <a:xfrm>
              <a:off x="6146916" y="3690678"/>
              <a:ext cx="1314095" cy="1311670"/>
            </a:xfrm>
            <a:custGeom>
              <a:avLst/>
              <a:gdLst>
                <a:gd name="T0" fmla="*/ 522 w 522"/>
                <a:gd name="T1" fmla="*/ 0 h 522"/>
                <a:gd name="T2" fmla="*/ 0 w 522"/>
                <a:gd name="T3" fmla="*/ 522 h 522"/>
                <a:gd name="T4" fmla="*/ 0 w 522"/>
                <a:gd name="T5" fmla="*/ 0 h 522"/>
                <a:gd name="T6" fmla="*/ 522 w 522"/>
                <a:gd name="T7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2">
                  <a:moveTo>
                    <a:pt x="522" y="0"/>
                  </a:moveTo>
                  <a:cubicBezTo>
                    <a:pt x="511" y="283"/>
                    <a:pt x="283" y="511"/>
                    <a:pt x="0" y="5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22" y="0"/>
                    <a:pt x="522" y="0"/>
                    <a:pt x="52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20CDE1D-6441-46C8-8CD7-26D1AF3962CE}"/>
                </a:ext>
              </a:extLst>
            </p:cNvPr>
            <p:cNvSpPr/>
            <p:nvPr/>
          </p:nvSpPr>
          <p:spPr bwMode="auto">
            <a:xfrm>
              <a:off x="6146916" y="2277177"/>
              <a:ext cx="1314095" cy="1310458"/>
            </a:xfrm>
            <a:custGeom>
              <a:avLst/>
              <a:gdLst>
                <a:gd name="T0" fmla="*/ 0 w 522"/>
                <a:gd name="T1" fmla="*/ 0 h 521"/>
                <a:gd name="T2" fmla="*/ 522 w 522"/>
                <a:gd name="T3" fmla="*/ 521 h 521"/>
                <a:gd name="T4" fmla="*/ 0 w 522"/>
                <a:gd name="T5" fmla="*/ 521 h 521"/>
                <a:gd name="T6" fmla="*/ 0 w 522"/>
                <a:gd name="T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1">
                  <a:moveTo>
                    <a:pt x="0" y="0"/>
                  </a:moveTo>
                  <a:cubicBezTo>
                    <a:pt x="283" y="11"/>
                    <a:pt x="511" y="239"/>
                    <a:pt x="522" y="521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AD29918-86A0-40A6-88B7-3C41D795B7B7}"/>
                </a:ext>
              </a:extLst>
            </p:cNvPr>
            <p:cNvSpPr/>
            <p:nvPr/>
          </p:nvSpPr>
          <p:spPr bwMode="auto">
            <a:xfrm>
              <a:off x="5426824" y="2971916"/>
              <a:ext cx="1335926" cy="1334482"/>
            </a:xfrm>
            <a:custGeom>
              <a:avLst/>
              <a:gdLst>
                <a:gd name="T0" fmla="*/ 79 w 445"/>
                <a:gd name="T1" fmla="*/ 79 h 445"/>
                <a:gd name="T2" fmla="*/ 79 w 445"/>
                <a:gd name="T3" fmla="*/ 366 h 445"/>
                <a:gd name="T4" fmla="*/ 366 w 445"/>
                <a:gd name="T5" fmla="*/ 366 h 445"/>
                <a:gd name="T6" fmla="*/ 366 w 445"/>
                <a:gd name="T7" fmla="*/ 79 h 445"/>
                <a:gd name="T8" fmla="*/ 79 w 445"/>
                <a:gd name="T9" fmla="*/ 7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5">
                  <a:moveTo>
                    <a:pt x="79" y="79"/>
                  </a:moveTo>
                  <a:cubicBezTo>
                    <a:pt x="0" y="158"/>
                    <a:pt x="0" y="287"/>
                    <a:pt x="79" y="366"/>
                  </a:cubicBezTo>
                  <a:cubicBezTo>
                    <a:pt x="158" y="445"/>
                    <a:pt x="287" y="445"/>
                    <a:pt x="366" y="366"/>
                  </a:cubicBezTo>
                  <a:cubicBezTo>
                    <a:pt x="445" y="287"/>
                    <a:pt x="445" y="158"/>
                    <a:pt x="366" y="79"/>
                  </a:cubicBezTo>
                  <a:cubicBezTo>
                    <a:pt x="287" y="0"/>
                    <a:pt x="158" y="0"/>
                    <a:pt x="79" y="7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A8217CB8-5E9E-4807-AEDB-1AB63AAE66C5}"/>
                </a:ext>
              </a:extLst>
            </p:cNvPr>
            <p:cNvSpPr/>
            <p:nvPr/>
          </p:nvSpPr>
          <p:spPr bwMode="auto">
            <a:xfrm>
              <a:off x="6474747" y="2715033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0E83879-A1F1-4741-BCBD-E352A838A880}"/>
                </a:ext>
              </a:extLst>
            </p:cNvPr>
            <p:cNvSpPr/>
            <p:nvPr/>
          </p:nvSpPr>
          <p:spPr bwMode="auto">
            <a:xfrm>
              <a:off x="5145567" y="2715033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6740CD2-2004-49F6-BF2E-CA26E5B3F993}"/>
                </a:ext>
              </a:extLst>
            </p:cNvPr>
            <p:cNvSpPr/>
            <p:nvPr/>
          </p:nvSpPr>
          <p:spPr bwMode="auto">
            <a:xfrm>
              <a:off x="6474747" y="4138480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EEEBC68-6B04-43B7-8DB5-7172093AB5F1}"/>
                </a:ext>
              </a:extLst>
            </p:cNvPr>
            <p:cNvSpPr/>
            <p:nvPr/>
          </p:nvSpPr>
          <p:spPr bwMode="auto">
            <a:xfrm>
              <a:off x="5145567" y="4138480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D75EF5B3-F718-42B9-AB77-F85C52872D6C}"/>
                </a:ext>
              </a:extLst>
            </p:cNvPr>
            <p:cNvSpPr txBox="1"/>
            <p:nvPr/>
          </p:nvSpPr>
          <p:spPr>
            <a:xfrm>
              <a:off x="4067572" y="1891432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DCFBA58D-6C56-4E97-BF5C-84BE7D39D2BF}"/>
                </a:ext>
              </a:extLst>
            </p:cNvPr>
            <p:cNvSpPr txBox="1"/>
            <p:nvPr/>
          </p:nvSpPr>
          <p:spPr>
            <a:xfrm>
              <a:off x="4067572" y="4948259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AE250DE3-7C92-42EB-BDEE-44648204F6B3}"/>
                </a:ext>
              </a:extLst>
            </p:cNvPr>
            <p:cNvSpPr txBox="1"/>
            <p:nvPr/>
          </p:nvSpPr>
          <p:spPr>
            <a:xfrm>
              <a:off x="7150366" y="1891432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17C60B6-F74A-483B-97FE-72F688C17757}"/>
                </a:ext>
              </a:extLst>
            </p:cNvPr>
            <p:cNvSpPr txBox="1"/>
            <p:nvPr/>
          </p:nvSpPr>
          <p:spPr>
            <a:xfrm>
              <a:off x="7150366" y="4948259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F6AE26A7-B87C-4BFC-9328-9CA3D0DEE437}"/>
                </a:ext>
              </a:extLst>
            </p:cNvPr>
            <p:cNvSpPr/>
            <p:nvPr/>
          </p:nvSpPr>
          <p:spPr bwMode="auto">
            <a:xfrm>
              <a:off x="669925" y="1527143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C0B95528-62E1-440F-B8C9-3D663DEB1AEF}"/>
                </a:ext>
              </a:extLst>
            </p:cNvPr>
            <p:cNvSpPr/>
            <p:nvPr/>
          </p:nvSpPr>
          <p:spPr bwMode="auto">
            <a:xfrm>
              <a:off x="669925" y="4876709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9AD06999-2C07-49D8-983D-4946AE1DB321}"/>
                </a:ext>
              </a:extLst>
            </p:cNvPr>
            <p:cNvSpPr/>
            <p:nvPr/>
          </p:nvSpPr>
          <p:spPr bwMode="auto">
            <a:xfrm>
              <a:off x="8371624" y="1527143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3573975-9508-4A5A-AD0C-A1B38DA1DB09}"/>
                </a:ext>
              </a:extLst>
            </p:cNvPr>
            <p:cNvSpPr/>
            <p:nvPr/>
          </p:nvSpPr>
          <p:spPr bwMode="auto">
            <a:xfrm>
              <a:off x="8371624" y="4876709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4442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555D68-B9E2-4BAE-B8A5-EC31B08F8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F4C33CB-1D5C-4E65-A52A-4571EE227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AF5A781-82AC-4B1E-B5F3-DEE931EBB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34CE58A-0481-4C18-937A-4DA3DECE17E4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11288"/>
            <a:ext cx="10845800" cy="4454525"/>
            <a:chOff x="673100" y="1411288"/>
            <a:chExt cx="10845800" cy="445452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36D4CA02-3741-4855-AA40-94DFB68ED2FD}"/>
                </a:ext>
              </a:extLst>
            </p:cNvPr>
            <p:cNvCxnSpPr>
              <a:cxnSpLocks/>
              <a:stCxn id="46" idx="2"/>
              <a:endCxn id="7" idx="3"/>
            </p:cNvCxnSpPr>
            <p:nvPr/>
          </p:nvCxnSpPr>
          <p:spPr>
            <a:xfrm flipH="1">
              <a:off x="2553971" y="1760503"/>
              <a:ext cx="7782276" cy="1"/>
            </a:xfrm>
            <a:prstGeom prst="lin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53F0B08A-030E-4F57-94E6-431AAF7CBF8B}"/>
                </a:ext>
              </a:extLst>
            </p:cNvPr>
            <p:cNvSpPr txBox="1"/>
            <p:nvPr/>
          </p:nvSpPr>
          <p:spPr>
            <a:xfrm>
              <a:off x="673100" y="1468116"/>
              <a:ext cx="1880871" cy="5847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800" b="1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1800" b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52C7DE3-27DC-49D4-A7B5-173586773D12}"/>
                </a:ext>
              </a:extLst>
            </p:cNvPr>
            <p:cNvGrpSpPr/>
            <p:nvPr/>
          </p:nvGrpSpPr>
          <p:grpSpPr>
            <a:xfrm>
              <a:off x="3484455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60" name="组合 59">
                <a:extLst>
                  <a:ext uri="{FF2B5EF4-FFF2-40B4-BE49-F238E27FC236}">
                    <a16:creationId xmlns:a16="http://schemas.microsoft.com/office/drawing/2014/main" id="{6A4FC085-CBF6-4FF6-9867-A3F1FCACA8CA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64" name="椭圆 63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61" name="组合 60">
                <a:extLst>
                  <a:ext uri="{FF2B5EF4-FFF2-40B4-BE49-F238E27FC236}">
                    <a16:creationId xmlns:a16="http://schemas.microsoft.com/office/drawing/2014/main" id="{8936EF87-C165-4127-8C72-1E4CA969921B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62" name="矩形 61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文本框 6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4BBD03E-AFA4-4853-B539-61CF8965A49D}"/>
                </a:ext>
              </a:extLst>
            </p:cNvPr>
            <p:cNvGrpSpPr/>
            <p:nvPr/>
          </p:nvGrpSpPr>
          <p:grpSpPr>
            <a:xfrm>
              <a:off x="5606978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54" name="组合 53">
                <a:extLst>
                  <a:ext uri="{FF2B5EF4-FFF2-40B4-BE49-F238E27FC236}">
                    <a16:creationId xmlns:a16="http://schemas.microsoft.com/office/drawing/2014/main" id="{76DFEC82-7F11-4F36-B4AA-894DBCB50F3A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58" name="椭圆 57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55" name="组合 54">
                <a:extLst>
                  <a:ext uri="{FF2B5EF4-FFF2-40B4-BE49-F238E27FC236}">
                    <a16:creationId xmlns:a16="http://schemas.microsoft.com/office/drawing/2014/main" id="{F0BD7C05-A496-4358-BF9D-987EE7A7E5BC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56" name="矩形 55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7" name="文本框 5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903802BD-6506-4E3D-9301-8A879A14725B}"/>
                </a:ext>
              </a:extLst>
            </p:cNvPr>
            <p:cNvGrpSpPr/>
            <p:nvPr/>
          </p:nvGrpSpPr>
          <p:grpSpPr>
            <a:xfrm>
              <a:off x="7729501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48" name="组合 47">
                <a:extLst>
                  <a:ext uri="{FF2B5EF4-FFF2-40B4-BE49-F238E27FC236}">
                    <a16:creationId xmlns:a16="http://schemas.microsoft.com/office/drawing/2014/main" id="{C023FBC2-3FAC-44FD-A335-297FB7729434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52" name="椭圆 51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9" name="组合 48">
                <a:extLst>
                  <a:ext uri="{FF2B5EF4-FFF2-40B4-BE49-F238E27FC236}">
                    <a16:creationId xmlns:a16="http://schemas.microsoft.com/office/drawing/2014/main" id="{F1D20DF5-F3DD-448F-9DDD-32CE69B72303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50" name="矩形 49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1" name="文本框 5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A41469DC-E139-4E66-9828-16D46A2F24DF}"/>
                </a:ext>
              </a:extLst>
            </p:cNvPr>
            <p:cNvGrpSpPr/>
            <p:nvPr/>
          </p:nvGrpSpPr>
          <p:grpSpPr>
            <a:xfrm>
              <a:off x="9852025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42" name="组合 41">
                <a:extLst>
                  <a:ext uri="{FF2B5EF4-FFF2-40B4-BE49-F238E27FC236}">
                    <a16:creationId xmlns:a16="http://schemas.microsoft.com/office/drawing/2014/main" id="{7DA1FC34-8B1E-4007-AB2B-530FE59C4433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46" name="椭圆 45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77CEAF58-BE25-4FBA-BFBE-0F07E93A846D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44" name="矩形 43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文本框 44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36D4CA02-3741-4855-AA40-94DFB68ED2FD}"/>
                </a:ext>
              </a:extLst>
            </p:cNvPr>
            <p:cNvCxnSpPr>
              <a:cxnSpLocks/>
              <a:stCxn id="22" idx="2"/>
              <a:endCxn id="13" idx="3"/>
            </p:cNvCxnSpPr>
            <p:nvPr/>
          </p:nvCxnSpPr>
          <p:spPr>
            <a:xfrm flipH="1">
              <a:off x="2553971" y="4260993"/>
              <a:ext cx="7782276" cy="1"/>
            </a:xfrm>
            <a:prstGeom prst="lin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53F0B08A-030E-4F57-94E6-431AAF7CBF8B}"/>
                </a:ext>
              </a:extLst>
            </p:cNvPr>
            <p:cNvSpPr txBox="1"/>
            <p:nvPr/>
          </p:nvSpPr>
          <p:spPr>
            <a:xfrm>
              <a:off x="673100" y="3968606"/>
              <a:ext cx="1880871" cy="58477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800" b="1" dirty="0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18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86031A49-AADA-4870-B14E-8A8FC08FE920}"/>
                </a:ext>
              </a:extLst>
            </p:cNvPr>
            <p:cNvGrpSpPr/>
            <p:nvPr/>
          </p:nvGrpSpPr>
          <p:grpSpPr>
            <a:xfrm>
              <a:off x="3484455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36" name="组合 35">
                <a:extLst>
                  <a:ext uri="{FF2B5EF4-FFF2-40B4-BE49-F238E27FC236}">
                    <a16:creationId xmlns:a16="http://schemas.microsoft.com/office/drawing/2014/main" id="{03761AE1-F359-49F9-9E51-0CCFE81CFDAD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40" name="椭圆 39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4892D2B7-A3C4-466F-9754-820DC1701DD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文本框 38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53716D1B-D31C-4E6A-9F99-CEB349239CD5}"/>
                </a:ext>
              </a:extLst>
            </p:cNvPr>
            <p:cNvGrpSpPr/>
            <p:nvPr/>
          </p:nvGrpSpPr>
          <p:grpSpPr>
            <a:xfrm>
              <a:off x="5606978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30" name="组合 29">
                <a:extLst>
                  <a:ext uri="{FF2B5EF4-FFF2-40B4-BE49-F238E27FC236}">
                    <a16:creationId xmlns:a16="http://schemas.microsoft.com/office/drawing/2014/main" id="{39733057-CF17-43B0-8F47-9BAE7CD65D0E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34" name="椭圆 33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CA4B2F20-FAF6-4208-A99D-0A4A603BA96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32" name="矩形 31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文本框 3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24007198-834D-49AD-BAE6-301DD81064A2}"/>
                </a:ext>
              </a:extLst>
            </p:cNvPr>
            <p:cNvGrpSpPr/>
            <p:nvPr/>
          </p:nvGrpSpPr>
          <p:grpSpPr>
            <a:xfrm>
              <a:off x="7729501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83C52894-CA85-4594-84DE-9A6865FDEA4B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6011BE08-6476-4F0C-9BF1-F4D5E73ECA14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5B62B3B4-F642-465E-8D16-EEEAC6EFE8E0}"/>
                </a:ext>
              </a:extLst>
            </p:cNvPr>
            <p:cNvGrpSpPr/>
            <p:nvPr/>
          </p:nvGrpSpPr>
          <p:grpSpPr>
            <a:xfrm>
              <a:off x="9852025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18" name="组合 17">
                <a:extLst>
                  <a:ext uri="{FF2B5EF4-FFF2-40B4-BE49-F238E27FC236}">
                    <a16:creationId xmlns:a16="http://schemas.microsoft.com/office/drawing/2014/main" id="{BBB39168-A64E-4BA7-A879-9A3228D82DDE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22" name="椭圆 21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AE67794D-B08F-4C43-8990-3817F07DAFE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文本框 2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405512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80079B-03FA-4FB4-AA0E-B404C52E2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533B1F4-0A96-46D8-A400-11D540A2B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982659A-94B9-4018-9CB2-D57CB54AE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1884561-D774-4F40-A15D-E1F441D42F59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23947"/>
            <a:ext cx="12177677" cy="5769376"/>
            <a:chOff x="0" y="1123950"/>
            <a:chExt cx="12177676" cy="576937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5F9F6B00-F2E6-472B-897A-410E292F8DC5}"/>
                </a:ext>
              </a:extLst>
            </p:cNvPr>
            <p:cNvGrpSpPr/>
            <p:nvPr/>
          </p:nvGrpSpPr>
          <p:grpSpPr>
            <a:xfrm>
              <a:off x="0" y="4452497"/>
              <a:ext cx="12177676" cy="2440829"/>
              <a:chOff x="0" y="4466341"/>
              <a:chExt cx="9144000" cy="1832773"/>
            </a:xfrm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4F99094A-E507-4C68-B558-91DB63F72ADF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707C06FA-0FD3-4F1C-AECD-D26050EE31BF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E8A88172-FC6E-42D7-A247-33CFD576807F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3A80B48F-4D8D-4702-8838-3D82ECB17D71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8E0AAF09-8CD6-4666-B7C0-38CDBA40B437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747B08EF-20C1-43EA-ADD1-F066EFF5E0C2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BDB7B707-825E-4BF0-AF1C-B1DBF8E11139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8D4EF03B-1B79-45F0-96D5-4C6BE93E2B3A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F0036B3B-4436-453B-9BCC-76DFFBAC29C6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1B6DA8C9-5033-43F7-BEC1-176A69508D80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A266A980-F3CF-46D8-9D3A-A2AAB53312FF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7462180-7209-49F8-AD63-23516416343B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749D135-25AD-4876-BBB6-C15A77AABCB2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5458A2B1-7861-4E65-B041-4958B7F8F52E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E2A9500-04E9-4A34-850C-3F8E60725676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F81A102-5FED-4A44-93F9-BFF78290CC64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F17F6A22-AF9C-47E3-A8D1-DDCF14B3D230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91E3F93C-B53B-4056-976A-4B2CB322F1B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F8CE7F5-AB78-44BC-A66B-A2471C6A4942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58B47AC6-B2B7-45D5-9221-ABFC8AC4A0F0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AFCD8FB-5A38-44D2-B3BD-851980520F1B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DB25BDB-4DE4-4489-94B0-EA726B4A9FA9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B9A2FD2-FF29-44A3-AAD7-5B192F64865B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EF18ABC-F47A-4CCE-A8C7-8D1C5FD508D3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05E39540-7671-4CF5-832E-1BDF91EB3903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35DE0234-6A1F-4E04-B0D8-1D2DB9718F2D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906770B-39C8-42FB-B4DE-8E57A9E2A2C5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2DC41F0-195D-4B40-B955-23001673C281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1D8000C7-D73A-41C6-A6B8-8DF1FB83C503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0DAEC098-5EC3-4ABC-8B0F-729008089A94}"/>
                </a:ext>
              </a:extLst>
            </p:cNvPr>
            <p:cNvSpPr txBox="1"/>
            <p:nvPr/>
          </p:nvSpPr>
          <p:spPr>
            <a:xfrm>
              <a:off x="661530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567C7AC-4449-4C08-B297-05B174E7839E}"/>
                </a:ext>
              </a:extLst>
            </p:cNvPr>
            <p:cNvSpPr/>
            <p:nvPr/>
          </p:nvSpPr>
          <p:spPr bwMode="auto">
            <a:xfrm>
              <a:off x="664706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8501EE22-F1FC-4C4C-85DF-0E11026439AA}"/>
                </a:ext>
              </a:extLst>
            </p:cNvPr>
            <p:cNvGrpSpPr/>
            <p:nvPr/>
          </p:nvGrpSpPr>
          <p:grpSpPr>
            <a:xfrm>
              <a:off x="1089301" y="1858992"/>
              <a:ext cx="699354" cy="699354"/>
              <a:chOff x="1100871" y="3207878"/>
              <a:chExt cx="699354" cy="699354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D30B8163-FFD8-4FD0-8FF6-F70363C1683B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5ECA7800-EFFB-46E9-8BE2-40D3FDFC04F0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B678170-06D7-41E7-9BE0-9A7208200DA1}"/>
                </a:ext>
              </a:extLst>
            </p:cNvPr>
            <p:cNvSpPr/>
            <p:nvPr/>
          </p:nvSpPr>
          <p:spPr bwMode="auto">
            <a:xfrm>
              <a:off x="2399787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D7DA043A-0008-4E31-BBF6-7DEC6A3D2129}"/>
                </a:ext>
              </a:extLst>
            </p:cNvPr>
            <p:cNvGrpSpPr/>
            <p:nvPr/>
          </p:nvGrpSpPr>
          <p:grpSpPr>
            <a:xfrm>
              <a:off x="2824382" y="1858992"/>
              <a:ext cx="699354" cy="699354"/>
              <a:chOff x="1100871" y="3207878"/>
              <a:chExt cx="699354" cy="699354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E7766DF8-76E4-4028-A7DD-63368825DFE6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9CD532C9-8D61-4F39-AAEC-950BA623C745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DA8D1FA-219F-424A-805D-0AE8EF2F610B}"/>
                </a:ext>
              </a:extLst>
            </p:cNvPr>
            <p:cNvSpPr txBox="1"/>
            <p:nvPr/>
          </p:nvSpPr>
          <p:spPr>
            <a:xfrm>
              <a:off x="4430426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03255F-D58A-4450-AEE2-E62D8E31E613}"/>
                </a:ext>
              </a:extLst>
            </p:cNvPr>
            <p:cNvSpPr/>
            <p:nvPr/>
          </p:nvSpPr>
          <p:spPr bwMode="auto">
            <a:xfrm>
              <a:off x="4433602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6F0BE885-A04D-4E9C-8A0C-51A349DC1B29}"/>
                </a:ext>
              </a:extLst>
            </p:cNvPr>
            <p:cNvGrpSpPr/>
            <p:nvPr/>
          </p:nvGrpSpPr>
          <p:grpSpPr>
            <a:xfrm>
              <a:off x="4858197" y="1858992"/>
              <a:ext cx="699354" cy="699354"/>
              <a:chOff x="1100871" y="3207878"/>
              <a:chExt cx="699354" cy="699354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612F7FC7-42C2-4FA3-A0E9-037574679E17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D39D6366-8F98-4BE2-BDF9-6330AF121EFD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240BE1EC-4D36-49C4-8F87-C3279270CEEE}"/>
                </a:ext>
              </a:extLst>
            </p:cNvPr>
            <p:cNvSpPr/>
            <p:nvPr/>
          </p:nvSpPr>
          <p:spPr bwMode="auto">
            <a:xfrm>
              <a:off x="6168683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561FAFF7-2939-4DDA-A902-CA8BCBB9F2FF}"/>
                </a:ext>
              </a:extLst>
            </p:cNvPr>
            <p:cNvGrpSpPr/>
            <p:nvPr/>
          </p:nvGrpSpPr>
          <p:grpSpPr>
            <a:xfrm>
              <a:off x="6593278" y="1858992"/>
              <a:ext cx="699354" cy="699354"/>
              <a:chOff x="1100871" y="3207878"/>
              <a:chExt cx="699354" cy="699354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D3EDB09-20C5-4EA8-8A5B-9073A0D5A3BD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F07143DB-D13F-4DDC-82ED-B4B8A9504361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58ABCDD9-6BA0-4CCC-9185-80B5B60D4692}"/>
                </a:ext>
              </a:extLst>
            </p:cNvPr>
            <p:cNvSpPr txBox="1"/>
            <p:nvPr/>
          </p:nvSpPr>
          <p:spPr>
            <a:xfrm>
              <a:off x="8199323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C1F3DA3C-29CB-46E2-A5B7-8C03AE70D7D2}"/>
                </a:ext>
              </a:extLst>
            </p:cNvPr>
            <p:cNvSpPr/>
            <p:nvPr/>
          </p:nvSpPr>
          <p:spPr bwMode="auto">
            <a:xfrm>
              <a:off x="8202499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DD767822-E20E-4BE3-BF77-C2FBE5E4C13D}"/>
                </a:ext>
              </a:extLst>
            </p:cNvPr>
            <p:cNvGrpSpPr/>
            <p:nvPr/>
          </p:nvGrpSpPr>
          <p:grpSpPr>
            <a:xfrm>
              <a:off x="8627094" y="1858992"/>
              <a:ext cx="699354" cy="699354"/>
              <a:chOff x="1100871" y="3207878"/>
              <a:chExt cx="699354" cy="699354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D65043C8-A36C-46A8-8EF4-65C83537394D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87397BA5-E396-4FEA-8990-2D5C6CF4E704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72229CF7-6084-4380-BF68-68D201591332}"/>
                </a:ext>
              </a:extLst>
            </p:cNvPr>
            <p:cNvSpPr/>
            <p:nvPr/>
          </p:nvSpPr>
          <p:spPr bwMode="auto">
            <a:xfrm>
              <a:off x="9937580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66540AB8-263B-4E1F-8934-1F273D2CD9B2}"/>
                </a:ext>
              </a:extLst>
            </p:cNvPr>
            <p:cNvGrpSpPr/>
            <p:nvPr/>
          </p:nvGrpSpPr>
          <p:grpSpPr>
            <a:xfrm>
              <a:off x="10362175" y="1858992"/>
              <a:ext cx="699354" cy="699354"/>
              <a:chOff x="1100871" y="3207878"/>
              <a:chExt cx="699354" cy="699354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3E18BFFD-FCAF-4F1D-944D-DB06808098A4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D8D14F11-A4E5-4326-BC4C-3EBD824A801A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09B2409D-A973-45D4-B1F8-FF070284F64E}"/>
                </a:ext>
              </a:extLst>
            </p:cNvPr>
            <p:cNvCxnSpPr/>
            <p:nvPr/>
          </p:nvCxnSpPr>
          <p:spPr>
            <a:xfrm>
              <a:off x="4205007" y="1123950"/>
              <a:ext cx="0" cy="41630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ACE3A37F-54B1-464A-8CF0-B7E890E42CFE}"/>
                </a:ext>
              </a:extLst>
            </p:cNvPr>
            <p:cNvCxnSpPr/>
            <p:nvPr/>
          </p:nvCxnSpPr>
          <p:spPr>
            <a:xfrm>
              <a:off x="7976907" y="1123950"/>
              <a:ext cx="0" cy="41630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F5F91BB8-6AD3-421D-BA29-5846DEDFE90C}"/>
                </a:ext>
              </a:extLst>
            </p:cNvPr>
            <p:cNvSpPr/>
            <p:nvPr/>
          </p:nvSpPr>
          <p:spPr bwMode="auto">
            <a:xfrm>
              <a:off x="664706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76B30303-81C7-449A-9DC8-FC0368D750A9}"/>
                </a:ext>
              </a:extLst>
            </p:cNvPr>
            <p:cNvSpPr/>
            <p:nvPr/>
          </p:nvSpPr>
          <p:spPr bwMode="auto">
            <a:xfrm>
              <a:off x="4433602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CFEA618D-EC57-4F99-8D04-44C8FC4703B7}"/>
                </a:ext>
              </a:extLst>
            </p:cNvPr>
            <p:cNvSpPr/>
            <p:nvPr/>
          </p:nvSpPr>
          <p:spPr bwMode="auto">
            <a:xfrm>
              <a:off x="8202499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6453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E17AF7-916C-4787-A178-98AA813EA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AAC88EE-0411-478E-A216-5912AE44B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1F9EBEE-6C7A-496A-BB60-BDD23B547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5946214-5895-4E81-AB74-DA6F0C746D5F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997700"/>
            <a:ext cx="10850563" cy="3281700"/>
            <a:chOff x="669925" y="1997700"/>
            <a:chExt cx="10850563" cy="328170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CE642368-8B48-46E7-8C11-1BCF5F7DA1AD}"/>
                </a:ext>
              </a:extLst>
            </p:cNvPr>
            <p:cNvGrpSpPr/>
            <p:nvPr/>
          </p:nvGrpSpPr>
          <p:grpSpPr>
            <a:xfrm>
              <a:off x="3501735" y="1997700"/>
              <a:ext cx="5217460" cy="3281700"/>
              <a:chOff x="3487270" y="1997700"/>
              <a:chExt cx="5217460" cy="3281700"/>
            </a:xfrm>
          </p:grpSpPr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30A5FB9A-1A89-4F3B-B0B9-285D97E2325E}"/>
                  </a:ext>
                </a:extLst>
              </p:cNvPr>
              <p:cNvSpPr/>
              <p:nvPr/>
            </p:nvSpPr>
            <p:spPr bwMode="auto">
              <a:xfrm rot="5400000">
                <a:off x="4445420" y="2928837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66BD1059-A71F-4770-A8A4-4C78A5CAE734}"/>
                  </a:ext>
                </a:extLst>
              </p:cNvPr>
              <p:cNvSpPr/>
              <p:nvPr/>
            </p:nvSpPr>
            <p:spPr bwMode="auto">
              <a:xfrm>
                <a:off x="5461425" y="3890228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72ABA90B-BCB5-416E-A1D9-A0B0C159AED7}"/>
                  </a:ext>
                </a:extLst>
              </p:cNvPr>
              <p:cNvSpPr/>
              <p:nvPr/>
            </p:nvSpPr>
            <p:spPr bwMode="auto">
              <a:xfrm>
                <a:off x="3487270" y="1997700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0EF1612F-2929-41F1-8DBD-6F4A9B92EA3E}"/>
                  </a:ext>
                </a:extLst>
              </p:cNvPr>
              <p:cNvGrpSpPr/>
              <p:nvPr/>
            </p:nvGrpSpPr>
            <p:grpSpPr>
              <a:xfrm>
                <a:off x="3528743" y="2061589"/>
                <a:ext cx="1261393" cy="1261393"/>
                <a:chOff x="3222096" y="1909333"/>
                <a:chExt cx="1404000" cy="1404000"/>
              </a:xfrm>
            </p:grpSpPr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8B271CB3-BAB5-4755-922E-156087ED57C4}"/>
                    </a:ext>
                  </a:extLst>
                </p:cNvPr>
                <p:cNvSpPr/>
                <p:nvPr/>
              </p:nvSpPr>
              <p:spPr bwMode="auto">
                <a:xfrm>
                  <a:off x="3222096" y="1909333"/>
                  <a:ext cx="1404000" cy="1404000"/>
                </a:xfrm>
                <a:custGeom>
                  <a:avLst/>
                  <a:gdLst>
                    <a:gd name="T0" fmla="*/ 99 w 562"/>
                    <a:gd name="T1" fmla="*/ 461 h 562"/>
                    <a:gd name="T2" fmla="*/ 100 w 562"/>
                    <a:gd name="T3" fmla="*/ 99 h 562"/>
                    <a:gd name="T4" fmla="*/ 462 w 562"/>
                    <a:gd name="T5" fmla="*/ 101 h 562"/>
                    <a:gd name="T6" fmla="*/ 461 w 562"/>
                    <a:gd name="T7" fmla="*/ 462 h 562"/>
                    <a:gd name="T8" fmla="*/ 99 w 562"/>
                    <a:gd name="T9" fmla="*/ 461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2">
                      <a:moveTo>
                        <a:pt x="99" y="461"/>
                      </a:moveTo>
                      <a:cubicBezTo>
                        <a:pt x="0" y="361"/>
                        <a:pt x="0" y="199"/>
                        <a:pt x="100" y="99"/>
                      </a:cubicBezTo>
                      <a:cubicBezTo>
                        <a:pt x="200" y="0"/>
                        <a:pt x="362" y="0"/>
                        <a:pt x="462" y="101"/>
                      </a:cubicBezTo>
                      <a:cubicBezTo>
                        <a:pt x="562" y="201"/>
                        <a:pt x="561" y="363"/>
                        <a:pt x="461" y="462"/>
                      </a:cubicBezTo>
                      <a:cubicBezTo>
                        <a:pt x="361" y="562"/>
                        <a:pt x="199" y="561"/>
                        <a:pt x="99" y="4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065C0367-069A-4397-9F7D-70BF4B6DCD22}"/>
                    </a:ext>
                  </a:extLst>
                </p:cNvPr>
                <p:cNvSpPr/>
                <p:nvPr/>
              </p:nvSpPr>
              <p:spPr bwMode="auto">
                <a:xfrm>
                  <a:off x="3698792" y="2364287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3" name="组合 32">
                <a:extLst>
                  <a:ext uri="{FF2B5EF4-FFF2-40B4-BE49-F238E27FC236}">
                    <a16:creationId xmlns:a16="http://schemas.microsoft.com/office/drawing/2014/main" id="{F09211F0-7B99-4415-803F-52946041069C}"/>
                  </a:ext>
                </a:extLst>
              </p:cNvPr>
              <p:cNvGrpSpPr/>
              <p:nvPr/>
            </p:nvGrpSpPr>
            <p:grpSpPr>
              <a:xfrm>
                <a:off x="5436375" y="2061589"/>
                <a:ext cx="1261393" cy="1261393"/>
                <a:chOff x="5335492" y="1864674"/>
                <a:chExt cx="1404000" cy="1404000"/>
              </a:xfrm>
            </p:grpSpPr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FD7AB1E6-AB75-417B-BB2E-53C5E736F461}"/>
                    </a:ext>
                  </a:extLst>
                </p:cNvPr>
                <p:cNvSpPr/>
                <p:nvPr/>
              </p:nvSpPr>
              <p:spPr bwMode="auto">
                <a:xfrm>
                  <a:off x="5335492" y="1864674"/>
                  <a:ext cx="1404000" cy="1404000"/>
                </a:xfrm>
                <a:custGeom>
                  <a:avLst/>
                  <a:gdLst>
                    <a:gd name="T0" fmla="*/ 100 w 562"/>
                    <a:gd name="T1" fmla="*/ 100 h 561"/>
                    <a:gd name="T2" fmla="*/ 461 w 562"/>
                    <a:gd name="T3" fmla="*/ 100 h 561"/>
                    <a:gd name="T4" fmla="*/ 462 w 562"/>
                    <a:gd name="T5" fmla="*/ 461 h 561"/>
                    <a:gd name="T6" fmla="*/ 101 w 562"/>
                    <a:gd name="T7" fmla="*/ 462 h 561"/>
                    <a:gd name="T8" fmla="*/ 100 w 562"/>
                    <a:gd name="T9" fmla="*/ 100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1">
                      <a:moveTo>
                        <a:pt x="100" y="100"/>
                      </a:moveTo>
                      <a:cubicBezTo>
                        <a:pt x="199" y="1"/>
                        <a:pt x="361" y="0"/>
                        <a:pt x="461" y="100"/>
                      </a:cubicBezTo>
                      <a:cubicBezTo>
                        <a:pt x="561" y="199"/>
                        <a:pt x="562" y="361"/>
                        <a:pt x="462" y="461"/>
                      </a:cubicBezTo>
                      <a:cubicBezTo>
                        <a:pt x="363" y="561"/>
                        <a:pt x="201" y="561"/>
                        <a:pt x="101" y="462"/>
                      </a:cubicBezTo>
                      <a:cubicBezTo>
                        <a:pt x="1" y="362"/>
                        <a:pt x="0" y="200"/>
                        <a:pt x="100" y="1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153DB773-669A-4E67-A037-4CA6F0D0165A}"/>
                    </a:ext>
                  </a:extLst>
                </p:cNvPr>
                <p:cNvSpPr/>
                <p:nvPr/>
              </p:nvSpPr>
              <p:spPr bwMode="auto">
                <a:xfrm>
                  <a:off x="5812188" y="2319628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2B25A055-422A-4EEA-B9AE-F9CD6F56F184}"/>
                  </a:ext>
                </a:extLst>
              </p:cNvPr>
              <p:cNvGrpSpPr/>
              <p:nvPr/>
            </p:nvGrpSpPr>
            <p:grpSpPr>
              <a:xfrm>
                <a:off x="5506778" y="3954117"/>
                <a:ext cx="1261393" cy="1261393"/>
                <a:chOff x="5275427" y="3960562"/>
                <a:chExt cx="1404000" cy="1404000"/>
              </a:xfrm>
            </p:grpSpPr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A3A5F7CD-F2DA-4EF7-9E14-108DB2465517}"/>
                    </a:ext>
                  </a:extLst>
                </p:cNvPr>
                <p:cNvSpPr/>
                <p:nvPr/>
              </p:nvSpPr>
              <p:spPr bwMode="auto">
                <a:xfrm>
                  <a:off x="5275427" y="3960562"/>
                  <a:ext cx="1404000" cy="1404000"/>
                </a:xfrm>
                <a:custGeom>
                  <a:avLst/>
                  <a:gdLst>
                    <a:gd name="T0" fmla="*/ 99 w 562"/>
                    <a:gd name="T1" fmla="*/ 461 h 562"/>
                    <a:gd name="T2" fmla="*/ 100 w 562"/>
                    <a:gd name="T3" fmla="*/ 99 h 562"/>
                    <a:gd name="T4" fmla="*/ 462 w 562"/>
                    <a:gd name="T5" fmla="*/ 101 h 562"/>
                    <a:gd name="T6" fmla="*/ 461 w 562"/>
                    <a:gd name="T7" fmla="*/ 462 h 562"/>
                    <a:gd name="T8" fmla="*/ 99 w 562"/>
                    <a:gd name="T9" fmla="*/ 461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2">
                      <a:moveTo>
                        <a:pt x="99" y="461"/>
                      </a:moveTo>
                      <a:cubicBezTo>
                        <a:pt x="0" y="361"/>
                        <a:pt x="0" y="199"/>
                        <a:pt x="100" y="99"/>
                      </a:cubicBezTo>
                      <a:cubicBezTo>
                        <a:pt x="200" y="0"/>
                        <a:pt x="362" y="0"/>
                        <a:pt x="462" y="101"/>
                      </a:cubicBezTo>
                      <a:cubicBezTo>
                        <a:pt x="562" y="201"/>
                        <a:pt x="561" y="363"/>
                        <a:pt x="461" y="462"/>
                      </a:cubicBezTo>
                      <a:cubicBezTo>
                        <a:pt x="361" y="562"/>
                        <a:pt x="199" y="561"/>
                        <a:pt x="99" y="4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D874702A-C6BD-45BA-BB56-FCBBF445BF5C}"/>
                    </a:ext>
                  </a:extLst>
                </p:cNvPr>
                <p:cNvSpPr/>
                <p:nvPr/>
              </p:nvSpPr>
              <p:spPr bwMode="auto">
                <a:xfrm>
                  <a:off x="5752123" y="4415516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5" name="组合 34">
                <a:extLst>
                  <a:ext uri="{FF2B5EF4-FFF2-40B4-BE49-F238E27FC236}">
                    <a16:creationId xmlns:a16="http://schemas.microsoft.com/office/drawing/2014/main" id="{F23D3786-232F-48E4-82AF-9B931E71AAB4}"/>
                  </a:ext>
                </a:extLst>
              </p:cNvPr>
              <p:cNvGrpSpPr/>
              <p:nvPr/>
            </p:nvGrpSpPr>
            <p:grpSpPr>
              <a:xfrm>
                <a:off x="7385481" y="3954117"/>
                <a:ext cx="1261393" cy="1261393"/>
                <a:chOff x="7375316" y="4004526"/>
                <a:chExt cx="1404000" cy="1404000"/>
              </a:xfrm>
            </p:grpSpPr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81FBB96A-BDB3-4A58-BBAB-2044D10E1E0B}"/>
                    </a:ext>
                  </a:extLst>
                </p:cNvPr>
                <p:cNvSpPr/>
                <p:nvPr/>
              </p:nvSpPr>
              <p:spPr bwMode="auto">
                <a:xfrm>
                  <a:off x="7375316" y="4004526"/>
                  <a:ext cx="1404000" cy="1404000"/>
                </a:xfrm>
                <a:custGeom>
                  <a:avLst/>
                  <a:gdLst>
                    <a:gd name="T0" fmla="*/ 99 w 561"/>
                    <a:gd name="T1" fmla="*/ 100 h 561"/>
                    <a:gd name="T2" fmla="*/ 460 w 561"/>
                    <a:gd name="T3" fmla="*/ 100 h 561"/>
                    <a:gd name="T4" fmla="*/ 461 w 561"/>
                    <a:gd name="T5" fmla="*/ 461 h 561"/>
                    <a:gd name="T6" fmla="*/ 100 w 561"/>
                    <a:gd name="T7" fmla="*/ 461 h 561"/>
                    <a:gd name="T8" fmla="*/ 99 w 561"/>
                    <a:gd name="T9" fmla="*/ 100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1" h="561">
                      <a:moveTo>
                        <a:pt x="99" y="100"/>
                      </a:moveTo>
                      <a:cubicBezTo>
                        <a:pt x="199" y="0"/>
                        <a:pt x="360" y="0"/>
                        <a:pt x="460" y="100"/>
                      </a:cubicBezTo>
                      <a:cubicBezTo>
                        <a:pt x="560" y="199"/>
                        <a:pt x="561" y="361"/>
                        <a:pt x="461" y="461"/>
                      </a:cubicBezTo>
                      <a:cubicBezTo>
                        <a:pt x="362" y="561"/>
                        <a:pt x="200" y="561"/>
                        <a:pt x="100" y="461"/>
                      </a:cubicBezTo>
                      <a:cubicBezTo>
                        <a:pt x="0" y="362"/>
                        <a:pt x="0" y="200"/>
                        <a:pt x="99" y="1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ru-RU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6389AE64-064A-495C-803D-5838C6DAE203}"/>
                    </a:ext>
                  </a:extLst>
                </p:cNvPr>
                <p:cNvSpPr/>
                <p:nvPr/>
              </p:nvSpPr>
              <p:spPr bwMode="auto">
                <a:xfrm>
                  <a:off x="7852012" y="4459480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1618638" y="2326876"/>
              <a:ext cx="1684618" cy="1005914"/>
              <a:chOff x="9672575" y="1647223"/>
              <a:chExt cx="1846325" cy="1005914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3596673" y="4187613"/>
              <a:ext cx="1684618" cy="1005914"/>
              <a:chOff x="9672575" y="1647223"/>
              <a:chExt cx="1846325" cy="1005914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6939638" y="2189328"/>
              <a:ext cx="1684618" cy="1005914"/>
              <a:chOff x="9672575" y="1647223"/>
              <a:chExt cx="1846325" cy="1005914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8888744" y="4143471"/>
              <a:ext cx="1684618" cy="1005914"/>
              <a:chOff x="9672575" y="1647223"/>
              <a:chExt cx="1846325" cy="1005914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F02AEE98-DA7A-47E4-ACAE-EB29CA0218E7}"/>
                </a:ext>
              </a:extLst>
            </p:cNvPr>
            <p:cNvCxnSpPr>
              <a:stCxn id="29" idx="10"/>
            </p:cNvCxnSpPr>
            <p:nvPr/>
          </p:nvCxnSpPr>
          <p:spPr>
            <a:xfrm flipV="1">
              <a:off x="6738602" y="2599516"/>
              <a:ext cx="478188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65B0D39F-5ECF-43BC-8938-3D78DF7CE863}"/>
                </a:ext>
              </a:extLst>
            </p:cNvPr>
            <p:cNvCxnSpPr>
              <a:stCxn id="31" idx="11"/>
            </p:cNvCxnSpPr>
            <p:nvPr/>
          </p:nvCxnSpPr>
          <p:spPr>
            <a:xfrm flipH="1">
              <a:off x="669925" y="2719357"/>
              <a:ext cx="283848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4EA060C5-016A-43B0-9695-150FDAF4BA1B}"/>
                </a:ext>
              </a:extLst>
            </p:cNvPr>
            <p:cNvCxnSpPr>
              <a:stCxn id="30" idx="5"/>
            </p:cNvCxnSpPr>
            <p:nvPr/>
          </p:nvCxnSpPr>
          <p:spPr>
            <a:xfrm>
              <a:off x="8710980" y="4557743"/>
              <a:ext cx="280950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22E1DB42-CF99-41B1-B02D-6CAE4023DDA4}"/>
                </a:ext>
              </a:extLst>
            </p:cNvPr>
            <p:cNvCxnSpPr>
              <a:stCxn id="29" idx="4"/>
            </p:cNvCxnSpPr>
            <p:nvPr/>
          </p:nvCxnSpPr>
          <p:spPr>
            <a:xfrm flipH="1" flipV="1">
              <a:off x="669925" y="4563035"/>
              <a:ext cx="475454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1618638" y="4187613"/>
              <a:ext cx="1684618" cy="1005914"/>
              <a:chOff x="9672575" y="1647223"/>
              <a:chExt cx="1846325" cy="1005914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8888744" y="2189328"/>
              <a:ext cx="1684618" cy="1005914"/>
              <a:chOff x="9672575" y="1647223"/>
              <a:chExt cx="1846325" cy="1005914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76079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A46B79-DE78-4EFE-92B9-2BA49F64E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FA932F5-51E2-42B9-B071-F707AEF79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BD5D14-0A93-474A-AFBE-1F4853DB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0CE370F-20EF-4E4F-B502-AE24EE5BDC16}"/>
              </a:ext>
            </a:extLst>
          </p:cNvPr>
          <p:cNvGrpSpPr>
            <a:grpSpLocks noChangeAspect="1"/>
          </p:cNvGrpSpPr>
          <p:nvPr/>
        </p:nvGrpSpPr>
        <p:grpSpPr>
          <a:xfrm>
            <a:off x="1771122" y="1130300"/>
            <a:ext cx="8814512" cy="5016500"/>
            <a:chOff x="1771122" y="1130300"/>
            <a:chExt cx="8814512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9A7BC9E4-DAF3-4A1B-9366-6FE8AEAE9FC7}"/>
                </a:ext>
              </a:extLst>
            </p:cNvPr>
            <p:cNvSpPr/>
            <p:nvPr/>
          </p:nvSpPr>
          <p:spPr>
            <a:xfrm>
              <a:off x="4244788" y="1343026"/>
              <a:ext cx="3702424" cy="4591050"/>
            </a:xfrm>
            <a:prstGeom prst="rect">
              <a:avLst/>
            </a:prstGeom>
            <a:pattFill prst="dkDn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DE239EF5-3321-4990-BD5E-6278D8B90945}"/>
                </a:ext>
              </a:extLst>
            </p:cNvPr>
            <p:cNvCxnSpPr>
              <a:stCxn id="18" idx="2"/>
              <a:endCxn id="15" idx="0"/>
            </p:cNvCxnSpPr>
            <p:nvPr/>
          </p:nvCxnSpPr>
          <p:spPr>
            <a:xfrm>
              <a:off x="6096000" y="1561284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>
              <a:extLst>
                <a:ext uri="{FF2B5EF4-FFF2-40B4-BE49-F238E27FC236}">
                  <a16:creationId xmlns:a16="http://schemas.microsoft.com/office/drawing/2014/main" id="{CE908EAD-D40F-4E76-80A3-AD1523F7BADC}"/>
                </a:ext>
              </a:extLst>
            </p:cNvPr>
            <p:cNvCxnSpPr>
              <a:endCxn id="14" idx="0"/>
            </p:cNvCxnSpPr>
            <p:nvPr/>
          </p:nvCxnSpPr>
          <p:spPr>
            <a:xfrm>
              <a:off x="6096000" y="2478387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>
              <a:extLst>
                <a:ext uri="{FF2B5EF4-FFF2-40B4-BE49-F238E27FC236}">
                  <a16:creationId xmlns:a16="http://schemas.microsoft.com/office/drawing/2014/main" id="{258490ED-C38C-4ED7-9E60-9CC353C77F93}"/>
                </a:ext>
              </a:extLst>
            </p:cNvPr>
            <p:cNvCxnSpPr>
              <a:stCxn id="14" idx="2"/>
              <a:endCxn id="13" idx="0"/>
            </p:cNvCxnSpPr>
            <p:nvPr/>
          </p:nvCxnSpPr>
          <p:spPr>
            <a:xfrm>
              <a:off x="6096000" y="3395490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>
              <a:extLst>
                <a:ext uri="{FF2B5EF4-FFF2-40B4-BE49-F238E27FC236}">
                  <a16:creationId xmlns:a16="http://schemas.microsoft.com/office/drawing/2014/main" id="{8B0C0645-F8F8-46FE-9C87-BC8D48494E8E}"/>
                </a:ext>
              </a:extLst>
            </p:cNvPr>
            <p:cNvCxnSpPr>
              <a:stCxn id="13" idx="2"/>
              <a:endCxn id="12" idx="0"/>
            </p:cNvCxnSpPr>
            <p:nvPr/>
          </p:nvCxnSpPr>
          <p:spPr>
            <a:xfrm>
              <a:off x="6096000" y="4312593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194032DF-2AFF-4606-84EE-FACD1281E9F6}"/>
                </a:ext>
              </a:extLst>
            </p:cNvPr>
            <p:cNvCxnSpPr>
              <a:stCxn id="12" idx="2"/>
              <a:endCxn id="21" idx="0"/>
            </p:cNvCxnSpPr>
            <p:nvPr/>
          </p:nvCxnSpPr>
          <p:spPr>
            <a:xfrm>
              <a:off x="6096000" y="5229696"/>
              <a:ext cx="0" cy="486120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2BEAC48-0076-48C4-BB17-A706E4BF39BF}"/>
                </a:ext>
              </a:extLst>
            </p:cNvPr>
            <p:cNvSpPr txBox="1"/>
            <p:nvPr/>
          </p:nvSpPr>
          <p:spPr bwMode="auto">
            <a:xfrm>
              <a:off x="5220854" y="4798712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CF440986-67E2-42D0-AEC6-3E1B759303D5}"/>
                </a:ext>
              </a:extLst>
            </p:cNvPr>
            <p:cNvSpPr txBox="1"/>
            <p:nvPr/>
          </p:nvSpPr>
          <p:spPr bwMode="auto">
            <a:xfrm>
              <a:off x="5220854" y="3881609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87AA539A-D69E-4741-A1C5-52AA44AD9D79}"/>
                </a:ext>
              </a:extLst>
            </p:cNvPr>
            <p:cNvSpPr txBox="1"/>
            <p:nvPr/>
          </p:nvSpPr>
          <p:spPr bwMode="auto">
            <a:xfrm>
              <a:off x="5220854" y="2964506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0F28D82F-559A-47E0-AB0A-745115ABC86F}"/>
                </a:ext>
              </a:extLst>
            </p:cNvPr>
            <p:cNvSpPr txBox="1"/>
            <p:nvPr/>
          </p:nvSpPr>
          <p:spPr bwMode="auto">
            <a:xfrm>
              <a:off x="5220854" y="2047403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6" name="连接符: 肘形 15">
              <a:extLst>
                <a:ext uri="{FF2B5EF4-FFF2-40B4-BE49-F238E27FC236}">
                  <a16:creationId xmlns:a16="http://schemas.microsoft.com/office/drawing/2014/main" id="{1C6B1CF8-AF82-44C2-81C9-C28512638242}"/>
                </a:ext>
              </a:extLst>
            </p:cNvPr>
            <p:cNvCxnSpPr>
              <a:stCxn id="32" idx="0"/>
              <a:endCxn id="18" idx="1"/>
            </p:cNvCxnSpPr>
            <p:nvPr/>
          </p:nvCxnSpPr>
          <p:spPr>
            <a:xfrm rot="5400000" flipH="1" flipV="1">
              <a:off x="3816722" y="1773857"/>
              <a:ext cx="1832196" cy="976067"/>
            </a:xfrm>
            <a:prstGeom prst="bentConnector2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3784224" y="3177988"/>
              <a:ext cx="921126" cy="921126"/>
              <a:chOff x="5019675" y="2562224"/>
              <a:chExt cx="660150" cy="660150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D98D9192-6453-4281-A3E1-37ED853DEF6E}"/>
                </a:ext>
              </a:extLst>
            </p:cNvPr>
            <p:cNvSpPr txBox="1"/>
            <p:nvPr/>
          </p:nvSpPr>
          <p:spPr bwMode="auto">
            <a:xfrm>
              <a:off x="5220854" y="1130300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9" name="连接符: 肘形 18">
              <a:extLst>
                <a:ext uri="{FF2B5EF4-FFF2-40B4-BE49-F238E27FC236}">
                  <a16:creationId xmlns:a16="http://schemas.microsoft.com/office/drawing/2014/main" id="{5212FF3E-9B92-4897-ADB9-76D3BA7CEB55}"/>
                </a:ext>
              </a:extLst>
            </p:cNvPr>
            <p:cNvCxnSpPr>
              <a:stCxn id="21" idx="3"/>
              <a:endCxn id="30" idx="4"/>
            </p:cNvCxnSpPr>
            <p:nvPr/>
          </p:nvCxnSpPr>
          <p:spPr>
            <a:xfrm flipV="1">
              <a:off x="6971145" y="4099114"/>
              <a:ext cx="976066" cy="1832194"/>
            </a:xfrm>
            <a:prstGeom prst="bentConnector2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B81BA2E6-43B1-4741-914D-329113FB7832}"/>
                </a:ext>
              </a:extLst>
            </p:cNvPr>
            <p:cNvGrpSpPr/>
            <p:nvPr/>
          </p:nvGrpSpPr>
          <p:grpSpPr>
            <a:xfrm>
              <a:off x="7486648" y="3177988"/>
              <a:ext cx="921126" cy="921126"/>
              <a:chOff x="5019675" y="2562224"/>
              <a:chExt cx="660150" cy="660150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FAC7BDBF-3E95-4E63-81A3-4047A0958E5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CC13D89-BC5E-47D7-8C69-684048FA5C8D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80CA9455-3133-4C06-A2ED-F34FA0BE6523}"/>
                </a:ext>
              </a:extLst>
            </p:cNvPr>
            <p:cNvSpPr txBox="1"/>
            <p:nvPr/>
          </p:nvSpPr>
          <p:spPr bwMode="auto">
            <a:xfrm>
              <a:off x="5220854" y="5715816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cs typeface="+mn-ea"/>
                  <a:sym typeface="+mn-lt"/>
                </a:rPr>
                <a:t>Text here</a:t>
              </a:r>
            </a:p>
          </p:txBody>
        </p: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383C98F8-640A-45DB-B1FE-A2CEFB7D010C}"/>
                </a:ext>
              </a:extLst>
            </p:cNvPr>
            <p:cNvGrpSpPr/>
            <p:nvPr/>
          </p:nvGrpSpPr>
          <p:grpSpPr>
            <a:xfrm>
              <a:off x="1771122" y="2702679"/>
              <a:ext cx="1763279" cy="1871740"/>
              <a:chOff x="1771122" y="2993089"/>
              <a:chExt cx="1763279" cy="1871740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1C52BD27-6C6C-4F3E-A3BE-AA26E987A30A}"/>
                  </a:ext>
                </a:extLst>
              </p:cNvPr>
              <p:cNvSpPr/>
              <p:nvPr/>
            </p:nvSpPr>
            <p:spPr bwMode="auto">
              <a:xfrm>
                <a:off x="1771122" y="2993089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2C25AF9-7DFF-4DB5-81E1-08458DB6DB72}"/>
                  </a:ext>
                </a:extLst>
              </p:cNvPr>
              <p:cNvSpPr/>
              <p:nvPr/>
            </p:nvSpPr>
            <p:spPr>
              <a:xfrm>
                <a:off x="1771122" y="3515550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4F59CFC6-DEDA-4B86-B31D-875685C35DEA}"/>
                  </a:ext>
                </a:extLst>
              </p:cNvPr>
              <p:cNvSpPr/>
              <p:nvPr/>
            </p:nvSpPr>
            <p:spPr>
              <a:xfrm>
                <a:off x="1771122" y="4226718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E9816832-83A0-4E9A-A4DE-4C4535EE1447}"/>
                </a:ext>
              </a:extLst>
            </p:cNvPr>
            <p:cNvGrpSpPr/>
            <p:nvPr/>
          </p:nvGrpSpPr>
          <p:grpSpPr>
            <a:xfrm>
              <a:off x="8822355" y="2702679"/>
              <a:ext cx="1763279" cy="1871740"/>
              <a:chOff x="1771122" y="2993089"/>
              <a:chExt cx="1763279" cy="1871740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1771122" y="2993089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A1F86F39-251F-4601-AC8B-0126F9478D2E}"/>
                  </a:ext>
                </a:extLst>
              </p:cNvPr>
              <p:cNvSpPr/>
              <p:nvPr/>
            </p:nvSpPr>
            <p:spPr>
              <a:xfrm>
                <a:off x="1771122" y="3515550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1771122" y="4226718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0945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425099" y="4533499"/>
            <a:ext cx="9341802" cy="3108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425099" y="4237228"/>
            <a:ext cx="9341802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7D2579-2A25-4795-A316-D64C845E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743846" y="1476080"/>
            <a:ext cx="10776642" cy="4117352"/>
            <a:chOff x="743846" y="1476080"/>
            <a:chExt cx="10776642" cy="411735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684170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7741094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41094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98018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38382" y="1476080"/>
              <a:ext cx="414046" cy="414046"/>
              <a:chOff x="4297977" y="3802571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06149" y="1476080"/>
              <a:ext cx="414046" cy="414046"/>
              <a:chOff x="4297977" y="3802571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452230" y="1476080"/>
              <a:ext cx="414046" cy="414046"/>
              <a:chOff x="4297977" y="3802571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41094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741094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161022-20F4-47DB-82DA-AAAC68DFB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3E46401-AD04-492C-B25D-2A22481B03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01443E-AF54-4DDB-A0EE-C1C5A6379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05EC605-24AD-4449-98AF-3F5D3AF47CD4}"/>
              </a:ext>
            </a:extLst>
          </p:cNvPr>
          <p:cNvGrpSpPr>
            <a:grpSpLocks noChangeAspect="1"/>
          </p:cNvGrpSpPr>
          <p:nvPr/>
        </p:nvGrpSpPr>
        <p:grpSpPr>
          <a:xfrm>
            <a:off x="634482" y="1202130"/>
            <a:ext cx="10916815" cy="4917164"/>
            <a:chOff x="634482" y="1202130"/>
            <a:chExt cx="10916815" cy="4917164"/>
          </a:xfrm>
        </p:grpSpPr>
        <p:sp>
          <p:nvSpPr>
            <p:cNvPr id="6" name="六边形 5">
              <a:extLst>
                <a:ext uri="{FF2B5EF4-FFF2-40B4-BE49-F238E27FC236}">
                  <a16:creationId xmlns:a16="http://schemas.microsoft.com/office/drawing/2014/main" id="{37D51FF0-4F15-4A6E-A763-C9E34A95145B}"/>
                </a:ext>
              </a:extLst>
            </p:cNvPr>
            <p:cNvSpPr/>
            <p:nvPr/>
          </p:nvSpPr>
          <p:spPr>
            <a:xfrm>
              <a:off x="63448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六边形 6">
              <a:extLst>
                <a:ext uri="{FF2B5EF4-FFF2-40B4-BE49-F238E27FC236}">
                  <a16:creationId xmlns:a16="http://schemas.microsoft.com/office/drawing/2014/main" id="{D044CFDB-5DEE-48A1-811B-30CB3A90D426}"/>
                </a:ext>
              </a:extLst>
            </p:cNvPr>
            <p:cNvSpPr/>
            <p:nvPr/>
          </p:nvSpPr>
          <p:spPr>
            <a:xfrm>
              <a:off x="8367324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六边形 7">
              <a:extLst>
                <a:ext uri="{FF2B5EF4-FFF2-40B4-BE49-F238E27FC236}">
                  <a16:creationId xmlns:a16="http://schemas.microsoft.com/office/drawing/2014/main" id="{9CC429BF-E6AA-4127-8C03-33D015404FF9}"/>
                </a:ext>
              </a:extLst>
            </p:cNvPr>
            <p:cNvSpPr/>
            <p:nvPr/>
          </p:nvSpPr>
          <p:spPr>
            <a:xfrm>
              <a:off x="256769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六边形 8">
              <a:extLst>
                <a:ext uri="{FF2B5EF4-FFF2-40B4-BE49-F238E27FC236}">
                  <a16:creationId xmlns:a16="http://schemas.microsoft.com/office/drawing/2014/main" id="{7CDFDAC3-0760-493C-9B75-3D0BED0CDD1F}"/>
                </a:ext>
              </a:extLst>
            </p:cNvPr>
            <p:cNvSpPr/>
            <p:nvPr/>
          </p:nvSpPr>
          <p:spPr>
            <a:xfrm>
              <a:off x="643411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六边形 9">
              <a:extLst>
                <a:ext uri="{FF2B5EF4-FFF2-40B4-BE49-F238E27FC236}">
                  <a16:creationId xmlns:a16="http://schemas.microsoft.com/office/drawing/2014/main" id="{43C4817F-2976-45B9-ADBA-DA0C0842D5B9}"/>
                </a:ext>
              </a:extLst>
            </p:cNvPr>
            <p:cNvSpPr/>
            <p:nvPr/>
          </p:nvSpPr>
          <p:spPr>
            <a:xfrm>
              <a:off x="450090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8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5F805D40-74BD-4EF6-9E63-236AD819B657}"/>
                </a:ext>
              </a:extLst>
            </p:cNvPr>
            <p:cNvGrpSpPr/>
            <p:nvPr/>
          </p:nvGrpSpPr>
          <p:grpSpPr>
            <a:xfrm>
              <a:off x="5813999" y="2843721"/>
              <a:ext cx="557778" cy="557773"/>
              <a:chOff x="3277103" y="2131962"/>
              <a:chExt cx="671155" cy="671150"/>
            </a:xfrm>
          </p:grpSpPr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60D568A2-B8E3-4C0B-B0D7-C6866455E44F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8748C9C-3C41-4B2E-9717-E7A3C62A482A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458561A3-92CF-4D6E-995E-CADD8A815C30}"/>
                </a:ext>
              </a:extLst>
            </p:cNvPr>
            <p:cNvSpPr/>
            <p:nvPr/>
          </p:nvSpPr>
          <p:spPr bwMode="auto">
            <a:xfrm>
              <a:off x="531626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7E16E43C-42BF-4AA8-9061-5ED4882182F2}"/>
                </a:ext>
              </a:extLst>
            </p:cNvPr>
            <p:cNvGrpSpPr/>
            <p:nvPr/>
          </p:nvGrpSpPr>
          <p:grpSpPr>
            <a:xfrm>
              <a:off x="8120405" y="2843721"/>
              <a:ext cx="557778" cy="557773"/>
              <a:chOff x="3277103" y="2131962"/>
              <a:chExt cx="671155" cy="671150"/>
            </a:xfrm>
          </p:grpSpPr>
          <p:sp>
            <p:nvSpPr>
              <p:cNvPr id="38" name="椭圆 37">
                <a:extLst>
                  <a:ext uri="{FF2B5EF4-FFF2-40B4-BE49-F238E27FC236}">
                    <a16:creationId xmlns:a16="http://schemas.microsoft.com/office/drawing/2014/main" id="{7B08423D-D958-4487-9AC1-76E66FAA3651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F7D379A9-FDDC-428D-9B3D-C084316814E5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8E48CAA2-B14E-4306-A462-EA38148538AC}"/>
                </a:ext>
              </a:extLst>
            </p:cNvPr>
            <p:cNvSpPr/>
            <p:nvPr/>
          </p:nvSpPr>
          <p:spPr bwMode="auto">
            <a:xfrm>
              <a:off x="7622671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CF04CEFA-3F4E-403A-B3C6-2938D43F538C}"/>
                </a:ext>
              </a:extLst>
            </p:cNvPr>
            <p:cNvGrpSpPr/>
            <p:nvPr/>
          </p:nvGrpSpPr>
          <p:grpSpPr>
            <a:xfrm>
              <a:off x="10115819" y="2843721"/>
              <a:ext cx="557778" cy="557773"/>
              <a:chOff x="3277103" y="2131962"/>
              <a:chExt cx="671155" cy="671150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49F12113-BA30-41A8-A8D8-07F25FD51327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A3E52238-E2D0-4BB4-B5A9-A9980B4B30C1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D4BB1A5-ACF8-48AD-A745-655ACE70DEE3}"/>
                </a:ext>
              </a:extLst>
            </p:cNvPr>
            <p:cNvSpPr/>
            <p:nvPr/>
          </p:nvSpPr>
          <p:spPr bwMode="auto">
            <a:xfrm>
              <a:off x="961808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6E0506DD-0656-4E00-B91F-5CF47883CDA1}"/>
                </a:ext>
              </a:extLst>
            </p:cNvPr>
            <p:cNvGrpSpPr/>
            <p:nvPr/>
          </p:nvGrpSpPr>
          <p:grpSpPr>
            <a:xfrm>
              <a:off x="3445389" y="2843721"/>
              <a:ext cx="557778" cy="557773"/>
              <a:chOff x="3277103" y="2131962"/>
              <a:chExt cx="671155" cy="671150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3B0A10E1-B590-4C74-A73F-01A3D2DB0B1A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C8D3796F-992B-480C-A397-7080F935E9DA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086D7190-8979-46E4-A3B0-E42BB6A2BCCC}"/>
                </a:ext>
              </a:extLst>
            </p:cNvPr>
            <p:cNvSpPr/>
            <p:nvPr/>
          </p:nvSpPr>
          <p:spPr bwMode="auto">
            <a:xfrm>
              <a:off x="294765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594953C1-0486-4ABA-807B-B50AC388439D}"/>
                </a:ext>
              </a:extLst>
            </p:cNvPr>
            <p:cNvGrpSpPr/>
            <p:nvPr/>
          </p:nvGrpSpPr>
          <p:grpSpPr>
            <a:xfrm>
              <a:off x="1490906" y="2843721"/>
              <a:ext cx="557778" cy="557773"/>
              <a:chOff x="3277103" y="2131962"/>
              <a:chExt cx="671155" cy="671150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DE8D2C56-4916-4EE9-B0B8-4C1AC1AA245F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2D749094-66F3-4535-A49E-FFA70C3FECA2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6D2B7F53-D48C-4FBD-BF2C-B278848812E2}"/>
                </a:ext>
              </a:extLst>
            </p:cNvPr>
            <p:cNvSpPr/>
            <p:nvPr/>
          </p:nvSpPr>
          <p:spPr bwMode="auto">
            <a:xfrm>
              <a:off x="993172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758C0B42-CF2E-4B23-B148-ED5A5B0B44E3}"/>
                </a:ext>
              </a:extLst>
            </p:cNvPr>
            <p:cNvSpPr/>
            <p:nvPr/>
          </p:nvSpPr>
          <p:spPr>
            <a:xfrm>
              <a:off x="880202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4EC78D79-D9F3-4E28-959B-A07C82192BA6}"/>
                </a:ext>
              </a:extLst>
            </p:cNvPr>
            <p:cNvSpPr/>
            <p:nvPr/>
          </p:nvSpPr>
          <p:spPr>
            <a:xfrm>
              <a:off x="880202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BB7FCDC8-E9B8-41A2-96F2-28EC2A6A3B80}"/>
                </a:ext>
              </a:extLst>
            </p:cNvPr>
            <p:cNvSpPr/>
            <p:nvPr/>
          </p:nvSpPr>
          <p:spPr>
            <a:xfrm>
              <a:off x="311365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BAB74A2A-D85D-4EF3-BFFC-1B9D4C852229}"/>
                </a:ext>
              </a:extLst>
            </p:cNvPr>
            <p:cNvSpPr/>
            <p:nvPr/>
          </p:nvSpPr>
          <p:spPr>
            <a:xfrm>
              <a:off x="311365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8EB232CD-E9D2-476F-9EFF-E1D76B56FD96}"/>
                </a:ext>
              </a:extLst>
            </p:cNvPr>
            <p:cNvSpPr/>
            <p:nvPr/>
          </p:nvSpPr>
          <p:spPr>
            <a:xfrm>
              <a:off x="739689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FF084512-07A7-44CB-9768-B04A34E8F241}"/>
                </a:ext>
              </a:extLst>
            </p:cNvPr>
            <p:cNvSpPr/>
            <p:nvPr/>
          </p:nvSpPr>
          <p:spPr>
            <a:xfrm>
              <a:off x="739689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3D03093B-4E74-4A4F-B65A-60DC00F8352D}"/>
                </a:ext>
              </a:extLst>
            </p:cNvPr>
            <p:cNvSpPr/>
            <p:nvPr/>
          </p:nvSpPr>
          <p:spPr>
            <a:xfrm>
              <a:off x="953277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70A9C441-F2AF-462B-9583-3C242E1194D9}"/>
                </a:ext>
              </a:extLst>
            </p:cNvPr>
            <p:cNvSpPr/>
            <p:nvPr/>
          </p:nvSpPr>
          <p:spPr>
            <a:xfrm>
              <a:off x="953277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6A5033AC-9A28-4A62-AF5B-17A5D91CC10C}"/>
                </a:ext>
              </a:extLst>
            </p:cNvPr>
            <p:cNvGrpSpPr/>
            <p:nvPr/>
          </p:nvGrpSpPr>
          <p:grpSpPr>
            <a:xfrm>
              <a:off x="5171295" y="1202130"/>
              <a:ext cx="1849411" cy="997226"/>
              <a:chOff x="1072499" y="1797239"/>
              <a:chExt cx="1849411" cy="997226"/>
            </a:xfrm>
          </p:grpSpPr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0512A7C6-8F25-486A-ABB8-47BDD912A703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72D8E3F1-0CB7-44AA-801B-D83F6F2C3AF6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7531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DD6AED-60AB-4AE4-AEE5-DE0F59559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1D77138-6682-4DB1-B15D-A3917969B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F7322D-76CE-49CE-BC98-CD69F2D5E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3B13375-84F5-465C-BDEB-819AB5C5261A}"/>
              </a:ext>
            </a:extLst>
          </p:cNvPr>
          <p:cNvGrpSpPr>
            <a:grpSpLocks noChangeAspect="1"/>
          </p:cNvGrpSpPr>
          <p:nvPr/>
        </p:nvGrpSpPr>
        <p:grpSpPr>
          <a:xfrm>
            <a:off x="1004596" y="1193014"/>
            <a:ext cx="10182808" cy="4855110"/>
            <a:chOff x="1004596" y="1193014"/>
            <a:chExt cx="10182808" cy="4855110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B996AC49-479E-4995-A6C8-C6202BD3BE08}"/>
                </a:ext>
              </a:extLst>
            </p:cNvPr>
            <p:cNvSpPr/>
            <p:nvPr/>
          </p:nvSpPr>
          <p:spPr>
            <a:xfrm>
              <a:off x="1004596" y="2829436"/>
              <a:ext cx="10182808" cy="155033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  <a:alpha val="40000"/>
              </a:schemeClr>
            </a:solidFill>
            <a:ln w="38100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9433062-0DA7-4536-B6D3-362DAA797A4F}"/>
                </a:ext>
              </a:extLst>
            </p:cNvPr>
            <p:cNvGrpSpPr/>
            <p:nvPr/>
          </p:nvGrpSpPr>
          <p:grpSpPr>
            <a:xfrm>
              <a:off x="2488163" y="2417861"/>
              <a:ext cx="823158" cy="823150"/>
              <a:chOff x="3277103" y="2131962"/>
              <a:chExt cx="671155" cy="671150"/>
            </a:xfrm>
          </p:grpSpPr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8259016B-5C71-4F06-8E4A-12FDA7EA249C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47A3316C-C882-4E7B-BF6B-AFF1F9DADD53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ECC37E8-838B-4FF2-BF20-D37837E7DED3}"/>
                </a:ext>
              </a:extLst>
            </p:cNvPr>
            <p:cNvGrpSpPr/>
            <p:nvPr/>
          </p:nvGrpSpPr>
          <p:grpSpPr>
            <a:xfrm>
              <a:off x="5684421" y="2417861"/>
              <a:ext cx="823158" cy="823150"/>
              <a:chOff x="3277103" y="2131962"/>
              <a:chExt cx="671155" cy="671150"/>
            </a:xfrm>
          </p:grpSpPr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2E35C507-BAD3-4028-B3B2-3CC0B7CDCEA5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9EF84D0E-83CD-4A2B-9F4E-702A2113BAAC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CDC3BC30-8979-4FBD-A4BE-990F5095BD50}"/>
                </a:ext>
              </a:extLst>
            </p:cNvPr>
            <p:cNvGrpSpPr/>
            <p:nvPr/>
          </p:nvGrpSpPr>
          <p:grpSpPr>
            <a:xfrm>
              <a:off x="8880679" y="2417861"/>
              <a:ext cx="823158" cy="823150"/>
              <a:chOff x="3277103" y="2131962"/>
              <a:chExt cx="671155" cy="671150"/>
            </a:xfrm>
          </p:grpSpPr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29523ECF-7B41-4843-AF9A-B5003ADF0FAA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4FB35A1C-65ED-45B8-9888-270C6B1E0573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B19C68F4-4BCC-4F0B-9377-7A9248A90B9E}"/>
                </a:ext>
              </a:extLst>
            </p:cNvPr>
            <p:cNvGrpSpPr/>
            <p:nvPr/>
          </p:nvGrpSpPr>
          <p:grpSpPr>
            <a:xfrm>
              <a:off x="2488163" y="3968197"/>
              <a:ext cx="823158" cy="823150"/>
              <a:chOff x="3277103" y="2131962"/>
              <a:chExt cx="671155" cy="671150"/>
            </a:xfrm>
          </p:grpSpPr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075B580C-ED85-4EDC-9049-96E9EE664FF3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81E75737-51A3-4B50-9D34-0C3D1F8844EC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624C010F-7574-478E-9A4C-172AACB0171E}"/>
                </a:ext>
              </a:extLst>
            </p:cNvPr>
            <p:cNvGrpSpPr/>
            <p:nvPr/>
          </p:nvGrpSpPr>
          <p:grpSpPr>
            <a:xfrm>
              <a:off x="5684421" y="3968197"/>
              <a:ext cx="823158" cy="823150"/>
              <a:chOff x="3277103" y="2131962"/>
              <a:chExt cx="671155" cy="671150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B49F64CD-72DC-4537-BA23-8305D509BC41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A3F6A843-3CD1-4B9F-88E7-4694058B883B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752713A-709A-48F9-8D2D-52B6DD272099}"/>
                </a:ext>
              </a:extLst>
            </p:cNvPr>
            <p:cNvGrpSpPr/>
            <p:nvPr/>
          </p:nvGrpSpPr>
          <p:grpSpPr>
            <a:xfrm>
              <a:off x="8880679" y="3968197"/>
              <a:ext cx="823158" cy="823150"/>
              <a:chOff x="3277103" y="2131962"/>
              <a:chExt cx="671155" cy="671150"/>
            </a:xfrm>
          </p:grpSpPr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31175D57-739B-4116-97C0-28F6172C8DF2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15354FD7-97F4-4A87-A400-A5FAFA12F734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4CF50C20-AF10-4F05-AA01-6318E1AB6596}"/>
                </a:ext>
              </a:extLst>
            </p:cNvPr>
            <p:cNvGrpSpPr/>
            <p:nvPr/>
          </p:nvGrpSpPr>
          <p:grpSpPr>
            <a:xfrm rot="5400000">
              <a:off x="4154102" y="2725919"/>
              <a:ext cx="232670" cy="232722"/>
              <a:chOff x="4022045" y="3355851"/>
              <a:chExt cx="311828" cy="311898"/>
            </a:xfrm>
          </p:grpSpPr>
          <p:sp>
            <p:nvSpPr>
              <p:cNvPr id="41" name="椭圆 40">
                <a:extLst>
                  <a:ext uri="{FF2B5EF4-FFF2-40B4-BE49-F238E27FC236}">
                    <a16:creationId xmlns:a16="http://schemas.microsoft.com/office/drawing/2014/main" id="{5978135D-2857-4F40-894F-AC3701DFB8D5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2" name="流程图: 摘录 41">
                <a:extLst>
                  <a:ext uri="{FF2B5EF4-FFF2-40B4-BE49-F238E27FC236}">
                    <a16:creationId xmlns:a16="http://schemas.microsoft.com/office/drawing/2014/main" id="{2A6DFB14-218B-42B2-B13B-880BDF8C3B66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723B1A66-B5A8-405D-9EEC-EFB475F45841}"/>
                </a:ext>
              </a:extLst>
            </p:cNvPr>
            <p:cNvGrpSpPr/>
            <p:nvPr/>
          </p:nvGrpSpPr>
          <p:grpSpPr>
            <a:xfrm rot="5400000">
              <a:off x="7577794" y="2725919"/>
              <a:ext cx="232670" cy="232722"/>
              <a:chOff x="4022045" y="3355851"/>
              <a:chExt cx="311828" cy="311898"/>
            </a:xfrm>
          </p:grpSpPr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1E5253FD-99EA-45FC-8623-8AD80267CF09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流程图: 摘录 39">
                <a:extLst>
                  <a:ext uri="{FF2B5EF4-FFF2-40B4-BE49-F238E27FC236}">
                    <a16:creationId xmlns:a16="http://schemas.microsoft.com/office/drawing/2014/main" id="{35159045-7939-4371-B270-FBDFF04CCA3D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8AD740A2-CBF1-4BCC-B1EC-55D709E49B2B}"/>
                </a:ext>
              </a:extLst>
            </p:cNvPr>
            <p:cNvGrpSpPr/>
            <p:nvPr/>
          </p:nvGrpSpPr>
          <p:grpSpPr>
            <a:xfrm rot="16200000" flipH="1">
              <a:off x="7567696" y="4299093"/>
              <a:ext cx="232670" cy="232722"/>
              <a:chOff x="4022045" y="3355851"/>
              <a:chExt cx="311828" cy="311898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6BE19042-988F-4CBB-B51C-9C009A2B5666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流程图: 摘录 37">
                <a:extLst>
                  <a:ext uri="{FF2B5EF4-FFF2-40B4-BE49-F238E27FC236}">
                    <a16:creationId xmlns:a16="http://schemas.microsoft.com/office/drawing/2014/main" id="{C0A3953F-60D8-4FCB-A26E-C148EC5258E0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5E13AC7A-05E1-4E8B-B5FF-27C7DD72EE43}"/>
                </a:ext>
              </a:extLst>
            </p:cNvPr>
            <p:cNvGrpSpPr/>
            <p:nvPr/>
          </p:nvGrpSpPr>
          <p:grpSpPr>
            <a:xfrm rot="16200000" flipH="1">
              <a:off x="4154102" y="4299093"/>
              <a:ext cx="232670" cy="232722"/>
              <a:chOff x="4022045" y="3355851"/>
              <a:chExt cx="311828" cy="31189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42BFF65-479E-47EF-B933-47AC7814F49A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流程图: 摘录 35">
                <a:extLst>
                  <a:ext uri="{FF2B5EF4-FFF2-40B4-BE49-F238E27FC236}">
                    <a16:creationId xmlns:a16="http://schemas.microsoft.com/office/drawing/2014/main" id="{9262F1DA-2B1D-4547-9F34-A96476037848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FCFA06BB-67A3-467C-9C94-91EBFA6302C7}"/>
                </a:ext>
              </a:extLst>
            </p:cNvPr>
            <p:cNvGrpSpPr/>
            <p:nvPr/>
          </p:nvGrpSpPr>
          <p:grpSpPr>
            <a:xfrm>
              <a:off x="1883336" y="1193014"/>
              <a:ext cx="2032570" cy="1095987"/>
              <a:chOff x="1172847" y="1872239"/>
              <a:chExt cx="2032570" cy="1095987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9A12AEEC-5513-45AE-B5B7-A6DE9B52ECEF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F784868B-CBE7-414E-BAD1-6E5FC5F75920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ADD16FBC-3204-4F8C-8D6B-77BCB6B50279}"/>
                </a:ext>
              </a:extLst>
            </p:cNvPr>
            <p:cNvGrpSpPr/>
            <p:nvPr/>
          </p:nvGrpSpPr>
          <p:grpSpPr>
            <a:xfrm>
              <a:off x="5079594" y="1193014"/>
              <a:ext cx="2032570" cy="1095987"/>
              <a:chOff x="1172847" y="1872239"/>
              <a:chExt cx="2032570" cy="1095987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F9CD7D15-D15E-453C-B180-438227E160C7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E32837B6-C1A1-460F-826A-B8C1A6DED0B4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048F6A20-B167-49E8-924A-6D3279BE5724}"/>
                </a:ext>
              </a:extLst>
            </p:cNvPr>
            <p:cNvGrpSpPr/>
            <p:nvPr/>
          </p:nvGrpSpPr>
          <p:grpSpPr>
            <a:xfrm>
              <a:off x="8275852" y="1193014"/>
              <a:ext cx="2032570" cy="1095987"/>
              <a:chOff x="1172847" y="1872239"/>
              <a:chExt cx="2032570" cy="1095987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33391C6A-7C01-4A66-B5F2-D178B224CCC6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988ED6C4-ACE8-4BEE-85F5-76872B5C55B3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ECCB2CE9-E1A1-415F-A432-C1CC1B5248F6}"/>
                </a:ext>
              </a:extLst>
            </p:cNvPr>
            <p:cNvGrpSpPr/>
            <p:nvPr/>
          </p:nvGrpSpPr>
          <p:grpSpPr>
            <a:xfrm>
              <a:off x="1883336" y="4952137"/>
              <a:ext cx="2032570" cy="1095987"/>
              <a:chOff x="1172847" y="1872239"/>
              <a:chExt cx="2032570" cy="1095987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129386A8-98FE-4847-8553-55375FD24DB7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711F10A4-7E69-4C71-8D0A-D7018F409D4E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81BCAC2D-62B7-403B-A7EF-FB85AC5AAA6C}"/>
                </a:ext>
              </a:extLst>
            </p:cNvPr>
            <p:cNvGrpSpPr/>
            <p:nvPr/>
          </p:nvGrpSpPr>
          <p:grpSpPr>
            <a:xfrm>
              <a:off x="5079594" y="4952137"/>
              <a:ext cx="2032570" cy="1095987"/>
              <a:chOff x="1172847" y="1872239"/>
              <a:chExt cx="2032570" cy="1095987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E7614DF-12D8-4BA5-A4C8-7FD327500EAB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B57075D7-5CE5-4611-88EC-F5D568125E03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DC8C84A8-D952-4847-897E-C9DB9863D606}"/>
                </a:ext>
              </a:extLst>
            </p:cNvPr>
            <p:cNvGrpSpPr/>
            <p:nvPr/>
          </p:nvGrpSpPr>
          <p:grpSpPr>
            <a:xfrm>
              <a:off x="8275852" y="4952137"/>
              <a:ext cx="2032570" cy="1095987"/>
              <a:chOff x="1172847" y="1872239"/>
              <a:chExt cx="2032570" cy="1095987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53F1E78A-DC5B-47AE-BFD1-E304A430EE59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1ED0D27-F879-4B76-B9E0-B912C5280AB8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2673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B15680A-C30B-470B-BEDA-DA5BF757B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C7160A5-A66D-4FC0-91C9-2E1308D3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DC7CEB-3700-4121-BCE6-9E21D755D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F81473-CAE8-483C-B2BC-DE4C9F37C567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5016500"/>
            <a:chOff x="673100" y="1130300"/>
            <a:chExt cx="10845800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AA2728B0-75A7-416B-A6B1-EF1C02CB3ACE}"/>
                </a:ext>
              </a:extLst>
            </p:cNvPr>
            <p:cNvSpPr/>
            <p:nvPr/>
          </p:nvSpPr>
          <p:spPr>
            <a:xfrm>
              <a:off x="673100" y="1946275"/>
              <a:ext cx="10845800" cy="420052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3E3ADAF-8145-415A-8324-A61BEE443895}"/>
                </a:ext>
              </a:extLst>
            </p:cNvPr>
            <p:cNvGrpSpPr/>
            <p:nvPr/>
          </p:nvGrpSpPr>
          <p:grpSpPr>
            <a:xfrm>
              <a:off x="4686300" y="1130300"/>
              <a:ext cx="2819400" cy="1219200"/>
              <a:chOff x="4686300" y="1130300"/>
              <a:chExt cx="2819400" cy="1219200"/>
            </a:xfrm>
          </p:grpSpPr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D0ADB613-476A-4922-9748-B9C2CB1E2D09}"/>
                  </a:ext>
                </a:extLst>
              </p:cNvPr>
              <p:cNvSpPr/>
              <p:nvPr/>
            </p:nvSpPr>
            <p:spPr bwMode="auto">
              <a:xfrm>
                <a:off x="4686300" y="1572105"/>
                <a:ext cx="2819400" cy="77739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800" dirty="0">
                    <a:cs typeface="+mn-ea"/>
                    <a:sym typeface="+mn-lt"/>
                  </a:rPr>
                  <a:t>…Text</a:t>
                </a: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71A67924-3191-4DAD-B75A-9F06FA9117EF}"/>
                  </a:ext>
                </a:extLst>
              </p:cNvPr>
              <p:cNvSpPr txBox="1"/>
              <p:nvPr/>
            </p:nvSpPr>
            <p:spPr bwMode="auto">
              <a:xfrm>
                <a:off x="4686300" y="1130300"/>
                <a:ext cx="281940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200" u="sng" dirty="0">
                    <a:cs typeface="+mn-ea"/>
                    <a:sym typeface="+mn-lt"/>
                  </a:rPr>
                  <a:t>Supporting text here</a:t>
                </a:r>
              </a:p>
            </p:txBody>
          </p:sp>
        </p:grp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DF951056-B4D4-49B9-8C05-060CFA9F6D04}"/>
                </a:ext>
              </a:extLst>
            </p:cNvPr>
            <p:cNvSpPr txBox="1"/>
            <p:nvPr/>
          </p:nvSpPr>
          <p:spPr bwMode="auto">
            <a:xfrm>
              <a:off x="741363" y="3399535"/>
              <a:ext cx="10709275" cy="842265"/>
            </a:xfrm>
            <a:prstGeom prst="rect">
              <a:avLst/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endParaRPr lang="en-US" altLang="zh-CN" sz="1600" b="1" i="1" dirty="0">
                <a:cs typeface="+mn-ea"/>
                <a:sym typeface="+mn-lt"/>
              </a:endParaRPr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04F503A6-51F1-441F-B47E-CEE2EA7C0299}"/>
                </a:ext>
              </a:extLst>
            </p:cNvPr>
            <p:cNvGrpSpPr/>
            <p:nvPr/>
          </p:nvGrpSpPr>
          <p:grpSpPr>
            <a:xfrm>
              <a:off x="1763220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0ACFAF57-9E7B-4D18-8B9B-E4DFCFB210A1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文本框 3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FB015331-D71D-4FB0-A69B-9A8E878A0FBD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90BEF8F0-3B49-43EA-A60B-88EE7C4FD611}"/>
                </a:ext>
              </a:extLst>
            </p:cNvPr>
            <p:cNvGrpSpPr/>
            <p:nvPr/>
          </p:nvGrpSpPr>
          <p:grpSpPr>
            <a:xfrm>
              <a:off x="4039401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04252C3A-B529-4AB2-A9D1-D7F9D09A70C9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250021DB-9A93-41E2-A2BE-2DDF7D15C70F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4DB7F229-B95C-4F3E-848C-763F833A3F96}"/>
                </a:ext>
              </a:extLst>
            </p:cNvPr>
            <p:cNvGrpSpPr/>
            <p:nvPr/>
          </p:nvGrpSpPr>
          <p:grpSpPr>
            <a:xfrm>
              <a:off x="6315582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5C50ACC3-A174-4C55-A32E-7D87E03CBCB8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文本框 2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C611BB32-0787-4C48-AD94-57EE7B277234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6FE0059E-AD13-4684-B2E9-8BF859D3A93D}"/>
                </a:ext>
              </a:extLst>
            </p:cNvPr>
            <p:cNvGrpSpPr/>
            <p:nvPr/>
          </p:nvGrpSpPr>
          <p:grpSpPr>
            <a:xfrm>
              <a:off x="8591763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32F0412D-89D8-4895-911C-44DBD745412D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686E3340-E506-4FD7-A94B-AF1FFC08955D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67A7A2E9-5CF9-4237-AB60-9313D038F084}"/>
                </a:ext>
              </a:extLst>
            </p:cNvPr>
            <p:cNvCxnSpPr/>
            <p:nvPr/>
          </p:nvCxnSpPr>
          <p:spPr>
            <a:xfrm>
              <a:off x="3819819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E505359B-03E3-4F8B-B431-8ECE77CE8C81}"/>
                </a:ext>
              </a:extLst>
            </p:cNvPr>
            <p:cNvCxnSpPr/>
            <p:nvPr/>
          </p:nvCxnSpPr>
          <p:spPr>
            <a:xfrm>
              <a:off x="6096000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A0F20329-C54E-472B-9D90-B4B8E93D6895}"/>
                </a:ext>
              </a:extLst>
            </p:cNvPr>
            <p:cNvCxnSpPr/>
            <p:nvPr/>
          </p:nvCxnSpPr>
          <p:spPr>
            <a:xfrm>
              <a:off x="8372180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9051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413412-9586-43A9-B018-91415DBD8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045436B-9CEA-4329-A876-2CD947A78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44436E-AB7C-4684-84BA-42B5A34FD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AF082EA-7701-4E5E-BD24-C2EE31BCB039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5016500"/>
            <a:chOff x="673100" y="1130300"/>
            <a:chExt cx="10845800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D5C805C6-1C59-4AD7-AB5C-6BD4E7E40738}"/>
                </a:ext>
              </a:extLst>
            </p:cNvPr>
            <p:cNvSpPr/>
            <p:nvPr/>
          </p:nvSpPr>
          <p:spPr>
            <a:xfrm>
              <a:off x="4910387" y="1130300"/>
              <a:ext cx="2371226" cy="5016500"/>
            </a:xfrm>
            <a:prstGeom prst="rect">
              <a:avLst/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1274343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1274343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2296919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2296919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3319495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3319495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4342071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4342071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5364646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5364646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1302621"/>
              <a:ext cx="581556" cy="581556"/>
              <a:chOff x="5019675" y="2562224"/>
              <a:chExt cx="660150" cy="660150"/>
            </a:xfrm>
          </p:grpSpPr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2325197"/>
              <a:ext cx="581556" cy="581556"/>
              <a:chOff x="5019675" y="2562224"/>
              <a:chExt cx="660150" cy="660150"/>
            </a:xfrm>
          </p:grpSpPr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3347773"/>
              <a:ext cx="581556" cy="581556"/>
              <a:chOff x="5019675" y="2562224"/>
              <a:chExt cx="660150" cy="660150"/>
            </a:xfrm>
          </p:grpSpPr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4370349"/>
              <a:ext cx="581556" cy="581556"/>
              <a:chOff x="5019675" y="2562224"/>
              <a:chExt cx="660150" cy="660150"/>
            </a:xfrm>
          </p:grpSpPr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5392924"/>
              <a:ext cx="581556" cy="581556"/>
              <a:chOff x="5019675" y="2562224"/>
              <a:chExt cx="660150" cy="660150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1302621"/>
              <a:ext cx="581556" cy="581556"/>
              <a:chOff x="5019675" y="2562224"/>
              <a:chExt cx="660150" cy="660150"/>
            </a:xfrm>
          </p:grpSpPr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2325197"/>
              <a:ext cx="581556" cy="581556"/>
              <a:chOff x="5019675" y="2562224"/>
              <a:chExt cx="660150" cy="660150"/>
            </a:xfrm>
          </p:grpSpPr>
          <p:sp>
            <p:nvSpPr>
              <p:cNvPr id="41" name="椭圆 40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3347773"/>
              <a:ext cx="581556" cy="581556"/>
              <a:chOff x="5019675" y="2562224"/>
              <a:chExt cx="660150" cy="660150"/>
            </a:xfrm>
          </p:grpSpPr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4370349"/>
              <a:ext cx="581556" cy="581556"/>
              <a:chOff x="5019675" y="2562224"/>
              <a:chExt cx="660150" cy="660150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5392924"/>
              <a:ext cx="581556" cy="581556"/>
              <a:chOff x="5019675" y="2562224"/>
              <a:chExt cx="660150" cy="660150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27" name="直接连接符 26">
              <a:extLst>
                <a:ext uri="{FF2B5EF4-FFF2-40B4-BE49-F238E27FC236}">
                  <a16:creationId xmlns:a16="http://schemas.microsoft.com/office/drawing/2014/main" id="{25D3205F-16C7-4C9F-BC9B-023E741CA8DE}"/>
                </a:ext>
              </a:extLst>
            </p:cNvPr>
            <p:cNvCxnSpPr/>
            <p:nvPr/>
          </p:nvCxnSpPr>
          <p:spPr>
            <a:xfrm>
              <a:off x="673100" y="2104686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B3724738-F5A1-4471-B963-9B812DFC0E9B}"/>
                </a:ext>
              </a:extLst>
            </p:cNvPr>
            <p:cNvCxnSpPr/>
            <p:nvPr/>
          </p:nvCxnSpPr>
          <p:spPr>
            <a:xfrm>
              <a:off x="673100" y="3127262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>
              <a:extLst>
                <a:ext uri="{FF2B5EF4-FFF2-40B4-BE49-F238E27FC236}">
                  <a16:creationId xmlns:a16="http://schemas.microsoft.com/office/drawing/2014/main" id="{2BFEAECF-60E8-474E-9188-5B02CBDADA87}"/>
                </a:ext>
              </a:extLst>
            </p:cNvPr>
            <p:cNvCxnSpPr/>
            <p:nvPr/>
          </p:nvCxnSpPr>
          <p:spPr>
            <a:xfrm>
              <a:off x="673100" y="4149838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>
              <a:extLst>
                <a:ext uri="{FF2B5EF4-FFF2-40B4-BE49-F238E27FC236}">
                  <a16:creationId xmlns:a16="http://schemas.microsoft.com/office/drawing/2014/main" id="{183217FD-F2C0-4405-A4AF-E9E613F3B746}"/>
                </a:ext>
              </a:extLst>
            </p:cNvPr>
            <p:cNvCxnSpPr/>
            <p:nvPr/>
          </p:nvCxnSpPr>
          <p:spPr>
            <a:xfrm>
              <a:off x="673100" y="5172414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31E364FD-71DF-4EB5-8791-64974DEF1D12}"/>
                </a:ext>
              </a:extLst>
            </p:cNvPr>
            <p:cNvCxnSpPr/>
            <p:nvPr/>
          </p:nvCxnSpPr>
          <p:spPr>
            <a:xfrm>
              <a:off x="7862047" y="2104686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B862EC51-555E-41DA-95DA-463F540A9861}"/>
                </a:ext>
              </a:extLst>
            </p:cNvPr>
            <p:cNvCxnSpPr/>
            <p:nvPr/>
          </p:nvCxnSpPr>
          <p:spPr>
            <a:xfrm>
              <a:off x="7862047" y="3127262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27B47B27-FBF7-49B5-8D67-37851F4F0620}"/>
                </a:ext>
              </a:extLst>
            </p:cNvPr>
            <p:cNvCxnSpPr/>
            <p:nvPr/>
          </p:nvCxnSpPr>
          <p:spPr>
            <a:xfrm>
              <a:off x="7862047" y="4149838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:a16="http://schemas.microsoft.com/office/drawing/2014/main" id="{4A660B49-2727-4D2E-9FAD-B3367A0CE247}"/>
                </a:ext>
              </a:extLst>
            </p:cNvPr>
            <p:cNvCxnSpPr/>
            <p:nvPr/>
          </p:nvCxnSpPr>
          <p:spPr>
            <a:xfrm>
              <a:off x="7862047" y="5172414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7074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</TotalTime>
  <Words>1436</Words>
  <Application>Microsoft Office PowerPoint</Application>
  <PresentationFormat>宽屏</PresentationFormat>
  <Paragraphs>554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7" baseType="lpstr">
      <vt:lpstr>等线</vt:lpstr>
      <vt:lpstr>Arial</vt:lpstr>
      <vt:lpstr>Calibri</vt:lpstr>
      <vt:lpstr>主题5</vt:lpstr>
      <vt:lpstr>think-cell Slide</vt:lpstr>
      <vt:lpstr>述职答辩  答辩人：陈仲贤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5</cp:revision>
  <cp:lastPrinted>2020-02-17T16:00:00Z</cp:lastPrinted>
  <dcterms:created xsi:type="dcterms:W3CDTF">2020-02-17T16:00:00Z</dcterms:created>
  <dcterms:modified xsi:type="dcterms:W3CDTF">2022-10-10T01:3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